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customXml/itemProps86.xml" ContentType="application/vnd.openxmlformats-officedocument.customXmlProperties+xml"/>
  <Override PartName="/customXml/itemProps87.xml" ContentType="application/vnd.openxmlformats-officedocument.customXmlProperties+xml"/>
  <Override PartName="/customXml/itemProps88.xml" ContentType="application/vnd.openxmlformats-officedocument.customXmlProperties+xml"/>
  <Override PartName="/customXml/itemProps89.xml" ContentType="application/vnd.openxmlformats-officedocument.customXmlProperties+xml"/>
  <Override PartName="/customXml/itemProps90.xml" ContentType="application/vnd.openxmlformats-officedocument.customXmlProperties+xml"/>
  <Override PartName="/customXml/itemProps91.xml" ContentType="application/vnd.openxmlformats-officedocument.customXmlProperties+xml"/>
  <Override PartName="/customXml/itemProps92.xml" ContentType="application/vnd.openxmlformats-officedocument.customXmlProperties+xml"/>
  <Override PartName="/customXml/itemProps93.xml" ContentType="application/vnd.openxmlformats-officedocument.customXmlProperties+xml"/>
  <Override PartName="/customXml/itemProps94.xml" ContentType="application/vnd.openxmlformats-officedocument.customXmlProperties+xml"/>
  <Override PartName="/customXml/itemProps95.xml" ContentType="application/vnd.openxmlformats-officedocument.customXmlProperties+xml"/>
  <Override PartName="/customXml/itemProps96.xml" ContentType="application/vnd.openxmlformats-officedocument.customXmlProperties+xml"/>
  <Override PartName="/customXml/itemProps97.xml" ContentType="application/vnd.openxmlformats-officedocument.customXmlProperties+xml"/>
  <Override PartName="/customXml/itemProps98.xml" ContentType="application/vnd.openxmlformats-officedocument.customXmlProperties+xml"/>
  <Override PartName="/customXml/itemProps99.xml" ContentType="application/vnd.openxmlformats-officedocument.customXmlProperties+xml"/>
  <Override PartName="/customXml/itemProps100.xml" ContentType="application/vnd.openxmlformats-officedocument.customXmlProperties+xml"/>
  <Override PartName="/customXml/itemProps101.xml" ContentType="application/vnd.openxmlformats-officedocument.customXmlProperties+xml"/>
  <Override PartName="/customXml/itemProps102.xml" ContentType="application/vnd.openxmlformats-officedocument.customXmlProperties+xml"/>
  <Override PartName="/customXml/itemProps103.xml" ContentType="application/vnd.openxmlformats-officedocument.customXmlProperties+xml"/>
  <Override PartName="/customXml/itemProps104.xml" ContentType="application/vnd.openxmlformats-officedocument.customXmlProperties+xml"/>
  <Override PartName="/customXml/itemProps105.xml" ContentType="application/vnd.openxmlformats-officedocument.customXmlProperties+xml"/>
  <Override PartName="/customXml/itemProps106.xml" ContentType="application/vnd.openxmlformats-officedocument.customXmlProperties+xml"/>
  <Override PartName="/customXml/itemProps107.xml" ContentType="application/vnd.openxmlformats-officedocument.customXmlProperties+xml"/>
  <Override PartName="/customXml/itemProps108.xml" ContentType="application/vnd.openxmlformats-officedocument.customXmlProperties+xml"/>
  <Override PartName="/customXml/itemProps109.xml" ContentType="application/vnd.openxmlformats-officedocument.customXmlProperties+xml"/>
  <Override PartName="/customXml/itemProps110.xml" ContentType="application/vnd.openxmlformats-officedocument.customXmlProperties+xml"/>
  <Override PartName="/customXml/itemProps111.xml" ContentType="application/vnd.openxmlformats-officedocument.customXmlProperties+xml"/>
  <Override PartName="/customXml/itemProps112.xml" ContentType="application/vnd.openxmlformats-officedocument.customXmlProperties+xml"/>
  <Override PartName="/customXml/itemProps113.xml" ContentType="application/vnd.openxmlformats-officedocument.customXmlProperties+xml"/>
  <Override PartName="/customXml/itemProps114.xml" ContentType="application/vnd.openxmlformats-officedocument.customXmlProperties+xml"/>
  <Override PartName="/customXml/itemProps115.xml" ContentType="application/vnd.openxmlformats-officedocument.customXmlProperties+xml"/>
  <Override PartName="/customXml/itemProps116.xml" ContentType="application/vnd.openxmlformats-officedocument.customXmlProperties+xml"/>
  <Override PartName="/customXml/itemProps117.xml" ContentType="application/vnd.openxmlformats-officedocument.customXmlProperties+xml"/>
  <Override PartName="/customXml/itemProps118.xml" ContentType="application/vnd.openxmlformats-officedocument.customXmlProperties+xml"/>
  <Override PartName="/customXml/itemProps119.xml" ContentType="application/vnd.openxmlformats-officedocument.customXmlProperties+xml"/>
  <Override PartName="/customXml/itemProps120.xml" ContentType="application/vnd.openxmlformats-officedocument.customXmlProperties+xml"/>
  <Override PartName="/customXml/itemProps121.xml" ContentType="application/vnd.openxmlformats-officedocument.customXmlProperties+xml"/>
  <Override PartName="/customXml/itemProps122.xml" ContentType="application/vnd.openxmlformats-officedocument.customXmlProperties+xml"/>
  <Override PartName="/customXml/itemProps123.xml" ContentType="application/vnd.openxmlformats-officedocument.customXmlProperties+xml"/>
  <Override PartName="/customXml/itemProps124.xml" ContentType="application/vnd.openxmlformats-officedocument.customXmlProperties+xml"/>
  <Override PartName="/customXml/itemProps125.xml" ContentType="application/vnd.openxmlformats-officedocument.customXmlProperties+xml"/>
  <Override PartName="/customXml/itemProps126.xml" ContentType="application/vnd.openxmlformats-officedocument.customXmlProperties+xml"/>
  <Override PartName="/customXml/itemProps127.xml" ContentType="application/vnd.openxmlformats-officedocument.customXmlProperties+xml"/>
  <Override PartName="/customXml/itemProps128.xml" ContentType="application/vnd.openxmlformats-officedocument.customXmlProperties+xml"/>
  <Override PartName="/customXml/itemProps129.xml" ContentType="application/vnd.openxmlformats-officedocument.customXmlProperties+xml"/>
  <Override PartName="/customXml/itemProps130.xml" ContentType="application/vnd.openxmlformats-officedocument.customXmlProperties+xml"/>
  <Override PartName="/customXml/itemProps131.xml" ContentType="application/vnd.openxmlformats-officedocument.customXmlProperties+xml"/>
  <Override PartName="/customXml/itemProps132.xml" ContentType="application/vnd.openxmlformats-officedocument.customXmlProperties+xml"/>
  <Override PartName="/customXml/itemProps133.xml" ContentType="application/vnd.openxmlformats-officedocument.customXmlProperties+xml"/>
  <Override PartName="/customXml/itemProps134.xml" ContentType="application/vnd.openxmlformats-officedocument.customXmlProperties+xml"/>
  <Override PartName="/customXml/itemProps135.xml" ContentType="application/vnd.openxmlformats-officedocument.customXmlProperties+xml"/>
  <Override PartName="/customXml/itemProps136.xml" ContentType="application/vnd.openxmlformats-officedocument.customXmlProperties+xml"/>
  <Override PartName="/customXml/itemProps137.xml" ContentType="application/vnd.openxmlformats-officedocument.customXmlProperties+xml"/>
  <Override PartName="/customXml/itemProps138.xml" ContentType="application/vnd.openxmlformats-officedocument.customXmlProperties+xml"/>
  <Override PartName="/customXml/itemProps139.xml" ContentType="application/vnd.openxmlformats-officedocument.customXmlProperties+xml"/>
  <Override PartName="/customXml/itemProps140.xml" ContentType="application/vnd.openxmlformats-officedocument.customXmlProperties+xml"/>
  <Override PartName="/customXml/itemProps141.xml" ContentType="application/vnd.openxmlformats-officedocument.customXmlProperties+xml"/>
  <Override PartName="/customXml/itemProps142.xml" ContentType="application/vnd.openxmlformats-officedocument.customXmlProperties+xml"/>
  <Override PartName="/customXml/itemProps143.xml" ContentType="application/vnd.openxmlformats-officedocument.customXmlProperties+xml"/>
  <Override PartName="/customXml/itemProps144.xml" ContentType="application/vnd.openxmlformats-officedocument.customXmlProperties+xml"/>
  <Override PartName="/customXml/itemProps145.xml" ContentType="application/vnd.openxmlformats-officedocument.customXmlProperties+xml"/>
  <Override PartName="/customXml/itemProps146.xml" ContentType="application/vnd.openxmlformats-officedocument.customXmlProperties+xml"/>
  <Override PartName="/customXml/itemProps147.xml" ContentType="application/vnd.openxmlformats-officedocument.customXmlProperties+xml"/>
  <Override PartName="/customXml/itemProps148.xml" ContentType="application/vnd.openxmlformats-officedocument.customXmlProperties+xml"/>
  <Override PartName="/customXml/itemProps149.xml" ContentType="application/vnd.openxmlformats-officedocument.customXmlProperties+xml"/>
  <Override PartName="/customXml/itemProps150.xml" ContentType="application/vnd.openxmlformats-officedocument.customXmlProperties+xml"/>
  <Override PartName="/customXml/itemProps151.xml" ContentType="application/vnd.openxmlformats-officedocument.customXmlProperties+xml"/>
  <Override PartName="/customXml/itemProps152.xml" ContentType="application/vnd.openxmlformats-officedocument.customXmlProperties+xml"/>
  <Override PartName="/customXml/itemProps153.xml" ContentType="application/vnd.openxmlformats-officedocument.customXmlProperties+xml"/>
  <Override PartName="/customXml/itemProps154.xml" ContentType="application/vnd.openxmlformats-officedocument.customXmlProperties+xml"/>
  <Override PartName="/customXml/itemProps155.xml" ContentType="application/vnd.openxmlformats-officedocument.customXmlProperties+xml"/>
  <Override PartName="/customXml/itemProps156.xml" ContentType="application/vnd.openxmlformats-officedocument.customXmlProperties+xml"/>
  <Override PartName="/customXml/itemProps157.xml" ContentType="application/vnd.openxmlformats-officedocument.customXmlProperties+xml"/>
  <Override PartName="/customXml/itemProps158.xml" ContentType="application/vnd.openxmlformats-officedocument.customXmlProperties+xml"/>
  <Override PartName="/customXml/itemProps159.xml" ContentType="application/vnd.openxmlformats-officedocument.customXmlProperties+xml"/>
  <Override PartName="/customXml/itemProps160.xml" ContentType="application/vnd.openxmlformats-officedocument.customXmlProperties+xml"/>
  <Override PartName="/customXml/itemProps161.xml" ContentType="application/vnd.openxmlformats-officedocument.customXmlProperties+xml"/>
  <Override PartName="/customXml/itemProps162.xml" ContentType="application/vnd.openxmlformats-officedocument.customXmlProperties+xml"/>
  <Override PartName="/customXml/itemProps163.xml" ContentType="application/vnd.openxmlformats-officedocument.customXmlProperties+xml"/>
  <Override PartName="/customXml/itemProps164.xml" ContentType="application/vnd.openxmlformats-officedocument.customXmlProperties+xml"/>
  <Override PartName="/customXml/itemProps165.xml" ContentType="application/vnd.openxmlformats-officedocument.customXmlProperties+xml"/>
  <Override PartName="/customXml/itemProps166.xml" ContentType="application/vnd.openxmlformats-officedocument.customXmlProperties+xml"/>
  <Override PartName="/customXml/itemProps167.xml" ContentType="application/vnd.openxmlformats-officedocument.customXmlProperties+xml"/>
  <Override PartName="/customXml/itemProps168.xml" ContentType="application/vnd.openxmlformats-officedocument.customXmlProperties+xml"/>
  <Override PartName="/customXml/itemProps169.xml" ContentType="application/vnd.openxmlformats-officedocument.customXmlProperties+xml"/>
  <Override PartName="/customXml/itemProps170.xml" ContentType="application/vnd.openxmlformats-officedocument.customXmlProperties+xml"/>
  <Override PartName="/customXml/itemProps171.xml" ContentType="application/vnd.openxmlformats-officedocument.customXmlProperties+xml"/>
  <Override PartName="/customXml/itemProps172.xml" ContentType="application/vnd.openxmlformats-officedocument.customXmlProperties+xml"/>
  <Override PartName="/customXml/itemProps173.xml" ContentType="application/vnd.openxmlformats-officedocument.customXmlProperties+xml"/>
  <Override PartName="/customXml/itemProps174.xml" ContentType="application/vnd.openxmlformats-officedocument.customXmlProperties+xml"/>
  <Override PartName="/customXml/itemProps175.xml" ContentType="application/vnd.openxmlformats-officedocument.customXmlProperties+xml"/>
  <Override PartName="/customXml/itemProps176.xml" ContentType="application/vnd.openxmlformats-officedocument.customXmlProperties+xml"/>
  <Override PartName="/customXml/itemProps177.xml" ContentType="application/vnd.openxmlformats-officedocument.customXmlProperties+xml"/>
  <Override PartName="/customXml/itemProps178.xml" ContentType="application/vnd.openxmlformats-officedocument.customXmlProperties+xml"/>
  <Override PartName="/customXml/itemProps179.xml" ContentType="application/vnd.openxmlformats-officedocument.customXmlProperties+xml"/>
  <Override PartName="/customXml/itemProps180.xml" ContentType="application/vnd.openxmlformats-officedocument.customXmlProperties+xml"/>
  <Override PartName="/customXml/itemProps181.xml" ContentType="application/vnd.openxmlformats-officedocument.customXmlProperties+xml"/>
  <Override PartName="/customXml/itemProps182.xml" ContentType="application/vnd.openxmlformats-officedocument.customXmlProperties+xml"/>
  <Override PartName="/customXml/itemProps183.xml" ContentType="application/vnd.openxmlformats-officedocument.customXmlProperties+xml"/>
  <Override PartName="/customXml/itemProps184.xml" ContentType="application/vnd.openxmlformats-officedocument.customXmlProperties+xml"/>
  <Override PartName="/customXml/itemProps185.xml" ContentType="application/vnd.openxmlformats-officedocument.customXmlProperties+xml"/>
  <Override PartName="/customXml/itemProps186.xml" ContentType="application/vnd.openxmlformats-officedocument.customXmlProperties+xml"/>
  <Override PartName="/customXml/itemProps187.xml" ContentType="application/vnd.openxmlformats-officedocument.customXmlProperties+xml"/>
  <Override PartName="/customXml/itemProps188.xml" ContentType="application/vnd.openxmlformats-officedocument.customXmlProperties+xml"/>
  <Override PartName="/customXml/itemProps189.xml" ContentType="application/vnd.openxmlformats-officedocument.customXmlProperties+xml"/>
  <Override PartName="/customXml/itemProps190.xml" ContentType="application/vnd.openxmlformats-officedocument.customXmlProperties+xml"/>
  <Override PartName="/customXml/itemProps191.xml" ContentType="application/vnd.openxmlformats-officedocument.customXmlProperties+xml"/>
  <Override PartName="/customXml/itemProps192.xml" ContentType="application/vnd.openxmlformats-officedocument.customXmlProperties+xml"/>
  <Override PartName="/customXml/itemProps193.xml" ContentType="application/vnd.openxmlformats-officedocument.customXmlProperties+xml"/>
  <Override PartName="/customXml/itemProps194.xml" ContentType="application/vnd.openxmlformats-officedocument.customXmlProperties+xml"/>
  <Override PartName="/customXml/itemProps195.xml" ContentType="application/vnd.openxmlformats-officedocument.customXmlProperties+xml"/>
  <Override PartName="/customXml/itemProps196.xml" ContentType="application/vnd.openxmlformats-officedocument.customXmlProperties+xml"/>
  <Override PartName="/customXml/itemProps197.xml" ContentType="application/vnd.openxmlformats-officedocument.customXmlProperties+xml"/>
  <Override PartName="/customXml/itemProps198.xml" ContentType="application/vnd.openxmlformats-officedocument.customXmlProperties+xml"/>
  <Override PartName="/customXml/itemProps199.xml" ContentType="application/vnd.openxmlformats-officedocument.customXmlProperties+xml"/>
  <Override PartName="/customXml/itemProps200.xml" ContentType="application/vnd.openxmlformats-officedocument.customXmlProperties+xml"/>
  <Override PartName="/customXml/itemProps201.xml" ContentType="application/vnd.openxmlformats-officedocument.customXmlProperties+xml"/>
  <Override PartName="/customXml/itemProps202.xml" ContentType="application/vnd.openxmlformats-officedocument.customXmlProperties+xml"/>
  <Override PartName="/customXml/itemProps203.xml" ContentType="application/vnd.openxmlformats-officedocument.customXmlProperties+xml"/>
  <Override PartName="/customXml/itemProps204.xml" ContentType="application/vnd.openxmlformats-officedocument.customXmlProperties+xml"/>
  <Override PartName="/customXml/itemProps205.xml" ContentType="application/vnd.openxmlformats-officedocument.customXmlProperties+xml"/>
  <Override PartName="/customXml/itemProps206.xml" ContentType="application/vnd.openxmlformats-officedocument.customXmlProperties+xml"/>
  <Override PartName="/customXml/itemProps207.xml" ContentType="application/vnd.openxmlformats-officedocument.customXmlProperties+xml"/>
  <Override PartName="/customXml/itemProps208.xml" ContentType="application/vnd.openxmlformats-officedocument.customXmlProperties+xml"/>
  <Override PartName="/customXml/itemProps209.xml" ContentType="application/vnd.openxmlformats-officedocument.customXmlProperties+xml"/>
  <Override PartName="/customXml/itemProps210.xml" ContentType="application/vnd.openxmlformats-officedocument.customXmlProperties+xml"/>
  <Override PartName="/customXml/itemProps211.xml" ContentType="application/vnd.openxmlformats-officedocument.customXmlProperties+xml"/>
  <Override PartName="/customXml/itemProps212.xml" ContentType="application/vnd.openxmlformats-officedocument.customXmlProperties+xml"/>
  <Override PartName="/customXml/itemProps213.xml" ContentType="application/vnd.openxmlformats-officedocument.customXmlProperties+xml"/>
  <Override PartName="/customXml/itemProps214.xml" ContentType="application/vnd.openxmlformats-officedocument.customXmlProperties+xml"/>
  <Override PartName="/customXml/itemProps215.xml" ContentType="application/vnd.openxmlformats-officedocument.customXmlProperties+xml"/>
  <Override PartName="/customXml/itemProps216.xml" ContentType="application/vnd.openxmlformats-officedocument.customXmlProperties+xml"/>
  <Override PartName="/customXml/itemProps217.xml" ContentType="application/vnd.openxmlformats-officedocument.customXmlProperties+xml"/>
  <Override PartName="/customXml/itemProps218.xml" ContentType="application/vnd.openxmlformats-officedocument.customXmlProperties+xml"/>
  <Override PartName="/customXml/itemProps219.xml" ContentType="application/vnd.openxmlformats-officedocument.customXmlProperties+xml"/>
  <Override PartName="/customXml/itemProps220.xml" ContentType="application/vnd.openxmlformats-officedocument.customXmlProperties+xml"/>
  <Override PartName="/customXml/itemProps221.xml" ContentType="application/vnd.openxmlformats-officedocument.customXmlProperties+xml"/>
  <Override PartName="/customXml/itemProps222.xml" ContentType="application/vnd.openxmlformats-officedocument.customXmlProperties+xml"/>
  <Override PartName="/customXml/itemProps223.xml" ContentType="application/vnd.openxmlformats-officedocument.customXmlProperties+xml"/>
  <Override PartName="/customXml/itemProps224.xml" ContentType="application/vnd.openxmlformats-officedocument.customXmlProperties+xml"/>
  <Override PartName="/customXml/itemProps225.xml" ContentType="application/vnd.openxmlformats-officedocument.customXmlProperties+xml"/>
  <Override PartName="/customXml/itemProps226.xml" ContentType="application/vnd.openxmlformats-officedocument.customXmlProperties+xml"/>
  <Override PartName="/customXml/itemProps227.xml" ContentType="application/vnd.openxmlformats-officedocument.customXmlProperties+xml"/>
  <Override PartName="/customXml/itemProps228.xml" ContentType="application/vnd.openxmlformats-officedocument.customXmlProperties+xml"/>
  <Override PartName="/customXml/itemProps229.xml" ContentType="application/vnd.openxmlformats-officedocument.customXmlProperties+xml"/>
  <Override PartName="/customXml/itemProps230.xml" ContentType="application/vnd.openxmlformats-officedocument.customXmlProperties+xml"/>
  <Override PartName="/customXml/itemProps231.xml" ContentType="application/vnd.openxmlformats-officedocument.customXmlProperties+xml"/>
  <Override PartName="/customXml/itemProps232.xml" ContentType="application/vnd.openxmlformats-officedocument.customXmlProperties+xml"/>
  <Override PartName="/customXml/itemProps233.xml" ContentType="application/vnd.openxmlformats-officedocument.customXmlProperties+xml"/>
  <Override PartName="/customXml/itemProps234.xml" ContentType="application/vnd.openxmlformats-officedocument.customXmlProperties+xml"/>
  <Override PartName="/customXml/itemProps235.xml" ContentType="application/vnd.openxmlformats-officedocument.customXmlProperties+xml"/>
  <Override PartName="/customXml/itemProps236.xml" ContentType="application/vnd.openxmlformats-officedocument.customXmlProperties+xml"/>
  <Override PartName="/customXml/itemProps237.xml" ContentType="application/vnd.openxmlformats-officedocument.customXmlProperties+xml"/>
  <Override PartName="/customXml/itemProps238.xml" ContentType="application/vnd.openxmlformats-officedocument.customXmlProperties+xml"/>
  <Override PartName="/customXml/itemProps239.xml" ContentType="application/vnd.openxmlformats-officedocument.customXmlProperties+xml"/>
  <Override PartName="/customXml/itemProps240.xml" ContentType="application/vnd.openxmlformats-officedocument.customXmlProperties+xml"/>
  <Override PartName="/customXml/itemProps241.xml" ContentType="application/vnd.openxmlformats-officedocument.customXmlProperties+xml"/>
  <Override PartName="/customXml/itemProps242.xml" ContentType="application/vnd.openxmlformats-officedocument.customXmlProperties+xml"/>
  <Override PartName="/customXml/itemProps243.xml" ContentType="application/vnd.openxmlformats-officedocument.customXmlProperties+xml"/>
  <Override PartName="/customXml/itemProps244.xml" ContentType="application/vnd.openxmlformats-officedocument.customXmlProperties+xml"/>
  <Override PartName="/customXml/itemProps245.xml" ContentType="application/vnd.openxmlformats-officedocument.customXmlProperties+xml"/>
  <Override PartName="/customXml/itemProps246.xml" ContentType="application/vnd.openxmlformats-officedocument.customXmlProperties+xml"/>
  <Override PartName="/customXml/itemProps247.xml" ContentType="application/vnd.openxmlformats-officedocument.customXmlProperties+xml"/>
  <Override PartName="/customXml/itemProps248.xml" ContentType="application/vnd.openxmlformats-officedocument.customXmlProperties+xml"/>
  <Override PartName="/customXml/itemProps249.xml" ContentType="application/vnd.openxmlformats-officedocument.customXmlProperties+xml"/>
  <Override PartName="/customXml/itemProps250.xml" ContentType="application/vnd.openxmlformats-officedocument.customXmlProperties+xml"/>
  <Override PartName="/customXml/itemProps251.xml" ContentType="application/vnd.openxmlformats-officedocument.customXmlProperties+xml"/>
  <Override PartName="/customXml/itemProps252.xml" ContentType="application/vnd.openxmlformats-officedocument.customXmlProperties+xml"/>
  <Override PartName="/customXml/itemProps253.xml" ContentType="application/vnd.openxmlformats-officedocument.customXmlProperties+xml"/>
  <Override PartName="/customXml/itemProps254.xml" ContentType="application/vnd.openxmlformats-officedocument.customXmlProperties+xml"/>
  <Override PartName="/customXml/itemProps255.xml" ContentType="application/vnd.openxmlformats-officedocument.customXmlProperties+xml"/>
  <Override PartName="/customXml/itemProps256.xml" ContentType="application/vnd.openxmlformats-officedocument.customXmlProperties+xml"/>
  <Override PartName="/customXml/itemProps257.xml" ContentType="application/vnd.openxmlformats-officedocument.customXmlProperties+xml"/>
  <Override PartName="/customXml/itemProps258.xml" ContentType="application/vnd.openxmlformats-officedocument.customXmlProperties+xml"/>
  <Override PartName="/customXml/itemProps259.xml" ContentType="application/vnd.openxmlformats-officedocument.customXmlProperties+xml"/>
  <Override PartName="/customXml/itemProps260.xml" ContentType="application/vnd.openxmlformats-officedocument.customXmlProperties+xml"/>
  <Override PartName="/customXml/itemProps261.xml" ContentType="application/vnd.openxmlformats-officedocument.customXmlProperties+xml"/>
  <Override PartName="/customXml/itemProps262.xml" ContentType="application/vnd.openxmlformats-officedocument.customXmlProperties+xml"/>
  <Override PartName="/customXml/itemProps263.xml" ContentType="application/vnd.openxmlformats-officedocument.customXmlProperties+xml"/>
  <Override PartName="/customXml/itemProps264.xml" ContentType="application/vnd.openxmlformats-officedocument.customXmlProperties+xml"/>
  <Override PartName="/customXml/itemProps265.xml" ContentType="application/vnd.openxmlformats-officedocument.customXmlProperties+xml"/>
  <Override PartName="/customXml/itemProps266.xml" ContentType="application/vnd.openxmlformats-officedocument.customXmlProperties+xml"/>
  <Override PartName="/customXml/itemProps267.xml" ContentType="application/vnd.openxmlformats-officedocument.customXmlProperties+xml"/>
  <Override PartName="/customXml/itemProps268.xml" ContentType="application/vnd.openxmlformats-officedocument.customXmlProperties+xml"/>
  <Override PartName="/customXml/itemProps269.xml" ContentType="application/vnd.openxmlformats-officedocument.customXmlProperties+xml"/>
  <Override PartName="/customXml/itemProps270.xml" ContentType="application/vnd.openxmlformats-officedocument.customXmlProperties+xml"/>
  <Override PartName="/customXml/itemProps271.xml" ContentType="application/vnd.openxmlformats-officedocument.customXmlProperties+xml"/>
  <Override PartName="/customXml/itemProps272.xml" ContentType="application/vnd.openxmlformats-officedocument.customXmlProperties+xml"/>
  <Override PartName="/customXml/itemProps273.xml" ContentType="application/vnd.openxmlformats-officedocument.customXmlProperties+xml"/>
  <Override PartName="/customXml/itemProps274.xml" ContentType="application/vnd.openxmlformats-officedocument.customXmlProperties+xml"/>
  <Override PartName="/customXml/itemProps275.xml" ContentType="application/vnd.openxmlformats-officedocument.customXmlProperties+xml"/>
  <Override PartName="/customXml/itemProps276.xml" ContentType="application/vnd.openxmlformats-officedocument.customXmlProperties+xml"/>
  <Override PartName="/customXml/itemProps277.xml" ContentType="application/vnd.openxmlformats-officedocument.customXmlProperties+xml"/>
  <Override PartName="/customXml/itemProps278.xml" ContentType="application/vnd.openxmlformats-officedocument.customXmlProperties+xml"/>
  <Override PartName="/customXml/itemProps279.xml" ContentType="application/vnd.openxmlformats-officedocument.customXmlProperties+xml"/>
  <Override PartName="/customXml/itemProps280.xml" ContentType="application/vnd.openxmlformats-officedocument.customXmlProperties+xml"/>
  <Override PartName="/customXml/itemProps281.xml" ContentType="application/vnd.openxmlformats-officedocument.customXmlProperties+xml"/>
  <Override PartName="/customXml/itemProps282.xml" ContentType="application/vnd.openxmlformats-officedocument.customXmlProperties+xml"/>
  <Override PartName="/customXml/itemProps283.xml" ContentType="application/vnd.openxmlformats-officedocument.customXmlProperties+xml"/>
  <Override PartName="/customXml/itemProps284.xml" ContentType="application/vnd.openxmlformats-officedocument.customXmlProperties+xml"/>
  <Override PartName="/customXml/itemProps285.xml" ContentType="application/vnd.openxmlformats-officedocument.customXmlProperties+xml"/>
  <Override PartName="/customXml/itemProps286.xml" ContentType="application/vnd.openxmlformats-officedocument.customXmlProperties+xml"/>
  <Override PartName="/customXml/itemProps287.xml" ContentType="application/vnd.openxmlformats-officedocument.customXmlProperties+xml"/>
  <Override PartName="/customXml/itemProps288.xml" ContentType="application/vnd.openxmlformats-officedocument.customXmlProperties+xml"/>
  <Override PartName="/customXml/itemProps289.xml" ContentType="application/vnd.openxmlformats-officedocument.customXmlProperties+xml"/>
  <Override PartName="/customXml/itemProps290.xml" ContentType="application/vnd.openxmlformats-officedocument.customXmlProperties+xml"/>
  <Override PartName="/customXml/itemProps291.xml" ContentType="application/vnd.openxmlformats-officedocument.customXmlProperties+xml"/>
  <Override PartName="/customXml/itemProps292.xml" ContentType="application/vnd.openxmlformats-officedocument.customXmlProperties+xml"/>
  <Override PartName="/customXml/itemProps293.xml" ContentType="application/vnd.openxmlformats-officedocument.customXmlProperties+xml"/>
  <Override PartName="/customXml/itemProps294.xml" ContentType="application/vnd.openxmlformats-officedocument.customXmlProperties+xml"/>
  <Override PartName="/customXml/itemProps295.xml" ContentType="application/vnd.openxmlformats-officedocument.customXmlProperties+xml"/>
  <Override PartName="/customXml/itemProps296.xml" ContentType="application/vnd.openxmlformats-officedocument.customXmlProperties+xml"/>
  <Override PartName="/customXml/itemProps297.xml" ContentType="application/vnd.openxmlformats-officedocument.customXmlProperties+xml"/>
  <Override PartName="/customXml/itemProps298.xml" ContentType="application/vnd.openxmlformats-officedocument.customXmlProperties+xml"/>
  <Override PartName="/customXml/itemProps299.xml" ContentType="application/vnd.openxmlformats-officedocument.customXmlProperties+xml"/>
  <Override PartName="/customXml/itemProps300.xml" ContentType="application/vnd.openxmlformats-officedocument.customXmlProperties+xml"/>
  <Override PartName="/customXml/itemProps301.xml" ContentType="application/vnd.openxmlformats-officedocument.customXmlProperties+xml"/>
  <Override PartName="/customXml/itemProps302.xml" ContentType="application/vnd.openxmlformats-officedocument.customXmlProperties+xml"/>
  <Override PartName="/customXml/itemProps303.xml" ContentType="application/vnd.openxmlformats-officedocument.customXmlProperties+xml"/>
  <Override PartName="/customXml/itemProps304.xml" ContentType="application/vnd.openxmlformats-officedocument.customXmlProperties+xml"/>
  <Override PartName="/customXml/itemProps305.xml" ContentType="application/vnd.openxmlformats-officedocument.customXmlProperties+xml"/>
  <Override PartName="/customXml/itemProps306.xml" ContentType="application/vnd.openxmlformats-officedocument.customXmlProperties+xml"/>
  <Override PartName="/customXml/itemProps307.xml" ContentType="application/vnd.openxmlformats-officedocument.customXmlProperties+xml"/>
  <Override PartName="/customXml/itemProps308.xml" ContentType="application/vnd.openxmlformats-officedocument.customXmlProperties+xml"/>
  <Override PartName="/customXml/itemProps309.xml" ContentType="application/vnd.openxmlformats-officedocument.customXmlProperties+xml"/>
  <Override PartName="/customXml/itemProps310.xml" ContentType="application/vnd.openxmlformats-officedocument.customXmlProperties+xml"/>
  <Override PartName="/customXml/itemProps311.xml" ContentType="application/vnd.openxmlformats-officedocument.customXmlProperties+xml"/>
  <Override PartName="/customXml/itemProps312.xml" ContentType="application/vnd.openxmlformats-officedocument.customXmlProperties+xml"/>
  <Override PartName="/customXml/itemProps313.xml" ContentType="application/vnd.openxmlformats-officedocument.customXmlProperties+xml"/>
  <Override PartName="/customXml/itemProps314.xml" ContentType="application/vnd.openxmlformats-officedocument.customXmlProperties+xml"/>
  <Override PartName="/customXml/itemProps315.xml" ContentType="application/vnd.openxmlformats-officedocument.customXmlProperties+xml"/>
  <Override PartName="/customXml/itemProps316.xml" ContentType="application/vnd.openxmlformats-officedocument.customXmlProperties+xml"/>
  <Override PartName="/customXml/itemProps317.xml" ContentType="application/vnd.openxmlformats-officedocument.customXmlProperties+xml"/>
  <Override PartName="/customXml/itemProps318.xml" ContentType="application/vnd.openxmlformats-officedocument.customXmlProperties+xml"/>
  <Override PartName="/customXml/itemProps319.xml" ContentType="application/vnd.openxmlformats-officedocument.customXmlProperties+xml"/>
  <Override PartName="/customXml/itemProps320.xml" ContentType="application/vnd.openxmlformats-officedocument.customXmlProperties+xml"/>
  <Override PartName="/customXml/itemProps321.xml" ContentType="application/vnd.openxmlformats-officedocument.customXmlProperties+xml"/>
  <Override PartName="/customXml/itemProps322.xml" ContentType="application/vnd.openxmlformats-officedocument.customXmlProperties+xml"/>
  <Override PartName="/customXml/itemProps323.xml" ContentType="application/vnd.openxmlformats-officedocument.customXmlProperties+xml"/>
  <Override PartName="/customXml/itemProps324.xml" ContentType="application/vnd.openxmlformats-officedocument.customXmlProperties+xml"/>
  <Override PartName="/customXml/itemProps325.xml" ContentType="application/vnd.openxmlformats-officedocument.customXmlProperties+xml"/>
  <Override PartName="/customXml/itemProps326.xml" ContentType="application/vnd.openxmlformats-officedocument.customXmlProperties+xml"/>
  <Override PartName="/customXml/itemProps327.xml" ContentType="application/vnd.openxmlformats-officedocument.customXmlProperties+xml"/>
  <Override PartName="/customXml/itemProps328.xml" ContentType="application/vnd.openxmlformats-officedocument.customXmlProperties+xml"/>
  <Override PartName="/customXml/itemProps329.xml" ContentType="application/vnd.openxmlformats-officedocument.customXmlProperties+xml"/>
  <Override PartName="/customXml/itemProps330.xml" ContentType="application/vnd.openxmlformats-officedocument.customXmlProperties+xml"/>
  <Override PartName="/customXml/itemProps331.xml" ContentType="application/vnd.openxmlformats-officedocument.customXmlProperties+xml"/>
  <Override PartName="/customXml/itemProps332.xml" ContentType="application/vnd.openxmlformats-officedocument.customXmlProperties+xml"/>
  <Override PartName="/customXml/itemProps333.xml" ContentType="application/vnd.openxmlformats-officedocument.customXmlProperties+xml"/>
  <Override PartName="/customXml/itemProps334.xml" ContentType="application/vnd.openxmlformats-officedocument.customXmlProperties+xml"/>
  <Override PartName="/customXml/itemProps335.xml" ContentType="application/vnd.openxmlformats-officedocument.customXmlProperties+xml"/>
  <Override PartName="/customXml/itemProps336.xml" ContentType="application/vnd.openxmlformats-officedocument.customXmlProperties+xml"/>
  <Override PartName="/customXml/itemProps337.xml" ContentType="application/vnd.openxmlformats-officedocument.customXmlProperties+xml"/>
  <Override PartName="/customXml/itemProps338.xml" ContentType="application/vnd.openxmlformats-officedocument.customXmlProperties+xml"/>
  <Override PartName="/customXml/itemProps339.xml" ContentType="application/vnd.openxmlformats-officedocument.customXmlProperties+xml"/>
  <Override PartName="/customXml/itemProps340.xml" ContentType="application/vnd.openxmlformats-officedocument.customXmlProperties+xml"/>
  <Override PartName="/customXml/itemProps341.xml" ContentType="application/vnd.openxmlformats-officedocument.customXmlProperties+xml"/>
  <Override PartName="/customXml/itemProps342.xml" ContentType="application/vnd.openxmlformats-officedocument.customXmlProperties+xml"/>
  <Override PartName="/customXml/itemProps343.xml" ContentType="application/vnd.openxmlformats-officedocument.customXmlProperties+xml"/>
  <Override PartName="/customXml/itemProps344.xml" ContentType="application/vnd.openxmlformats-officedocument.customXmlProperties+xml"/>
  <Override PartName="/customXml/itemProps345.xml" ContentType="application/vnd.openxmlformats-officedocument.customXmlProperties+xml"/>
  <Override PartName="/customXml/itemProps346.xml" ContentType="application/vnd.openxmlformats-officedocument.customXmlProperties+xml"/>
  <Override PartName="/customXml/itemProps347.xml" ContentType="application/vnd.openxmlformats-officedocument.customXmlProperties+xml"/>
  <Override PartName="/customXml/itemProps348.xml" ContentType="application/vnd.openxmlformats-officedocument.customXmlProperties+xml"/>
  <Override PartName="/customXml/itemProps349.xml" ContentType="application/vnd.openxmlformats-officedocument.customXmlProperties+xml"/>
  <Override PartName="/customXml/itemProps350.xml" ContentType="application/vnd.openxmlformats-officedocument.customXmlProperties+xml"/>
  <Override PartName="/customXml/itemProps351.xml" ContentType="application/vnd.openxmlformats-officedocument.customXmlProperties+xml"/>
  <Override PartName="/customXml/itemProps352.xml" ContentType="application/vnd.openxmlformats-officedocument.customXmlProperties+xml"/>
  <Override PartName="/customXml/itemProps353.xml" ContentType="application/vnd.openxmlformats-officedocument.customXmlProperties+xml"/>
  <Override PartName="/customXml/itemProps354.xml" ContentType="application/vnd.openxmlformats-officedocument.customXmlProperties+xml"/>
  <Override PartName="/customXml/itemProps355.xml" ContentType="application/vnd.openxmlformats-officedocument.customXmlProperties+xml"/>
  <Override PartName="/customXml/itemProps356.xml" ContentType="application/vnd.openxmlformats-officedocument.customXmlProperties+xml"/>
  <Override PartName="/customXml/itemProps357.xml" ContentType="application/vnd.openxmlformats-officedocument.customXmlProperties+xml"/>
  <Override PartName="/customXml/itemProps358.xml" ContentType="application/vnd.openxmlformats-officedocument.customXmlProperties+xml"/>
  <Override PartName="/customXml/itemProps359.xml" ContentType="application/vnd.openxmlformats-officedocument.customXmlProperties+xml"/>
  <Override PartName="/customXml/itemProps360.xml" ContentType="application/vnd.openxmlformats-officedocument.customXmlProperties+xml"/>
  <Override PartName="/customXml/itemProps361.xml" ContentType="application/vnd.openxmlformats-officedocument.customXmlProperties+xml"/>
  <Override PartName="/customXml/itemProps362.xml" ContentType="application/vnd.openxmlformats-officedocument.customXmlProperties+xml"/>
  <Override PartName="/customXml/itemProps363.xml" ContentType="application/vnd.openxmlformats-officedocument.customXmlProperties+xml"/>
  <Override PartName="/customXml/itemProps364.xml" ContentType="application/vnd.openxmlformats-officedocument.customXmlProperties+xml"/>
  <Override PartName="/customXml/itemProps365.xml" ContentType="application/vnd.openxmlformats-officedocument.customXmlProperties+xml"/>
  <Override PartName="/customXml/itemProps366.xml" ContentType="application/vnd.openxmlformats-officedocument.customXmlProperties+xml"/>
  <Override PartName="/customXml/itemProps367.xml" ContentType="application/vnd.openxmlformats-officedocument.customXmlProperties+xml"/>
  <Override PartName="/customXml/itemProps368.xml" ContentType="application/vnd.openxmlformats-officedocument.customXmlProperties+xml"/>
  <Override PartName="/customXml/itemProps369.xml" ContentType="application/vnd.openxmlformats-officedocument.customXmlProperties+xml"/>
  <Override PartName="/customXml/itemProps370.xml" ContentType="application/vnd.openxmlformats-officedocument.customXmlProperties+xml"/>
  <Override PartName="/customXml/itemProps371.xml" ContentType="application/vnd.openxmlformats-officedocument.customXmlProperties+xml"/>
  <Override PartName="/customXml/itemProps372.xml" ContentType="application/vnd.openxmlformats-officedocument.customXmlProperties+xml"/>
  <Override PartName="/customXml/itemProps373.xml" ContentType="application/vnd.openxmlformats-officedocument.customXmlProperties+xml"/>
  <Override PartName="/customXml/itemProps374.xml" ContentType="application/vnd.openxmlformats-officedocument.customXmlProperties+xml"/>
  <Override PartName="/customXml/itemProps375.xml" ContentType="application/vnd.openxmlformats-officedocument.customXmlProperties+xml"/>
  <Override PartName="/customXml/itemProps376.xml" ContentType="application/vnd.openxmlformats-officedocument.customXmlProperties+xml"/>
  <Override PartName="/customXml/itemProps377.xml" ContentType="application/vnd.openxmlformats-officedocument.customXmlProperties+xml"/>
  <Override PartName="/customXml/itemProps378.xml" ContentType="application/vnd.openxmlformats-officedocument.customXmlProperties+xml"/>
  <Override PartName="/customXml/itemProps379.xml" ContentType="application/vnd.openxmlformats-officedocument.customXmlProperties+xml"/>
  <Override PartName="/customXml/itemProps380.xml" ContentType="application/vnd.openxmlformats-officedocument.customXmlProperties+xml"/>
  <Override PartName="/customXml/itemProps381.xml" ContentType="application/vnd.openxmlformats-officedocument.customXmlProperties+xml"/>
  <Override PartName="/customXml/itemProps382.xml" ContentType="application/vnd.openxmlformats-officedocument.customXmlProperties+xml"/>
  <Override PartName="/customXml/itemProps383.xml" ContentType="application/vnd.openxmlformats-officedocument.customXmlProperties+xml"/>
  <Override PartName="/customXml/itemProps384.xml" ContentType="application/vnd.openxmlformats-officedocument.customXmlProperties+xml"/>
  <Override PartName="/customXml/itemProps385.xml" ContentType="application/vnd.openxmlformats-officedocument.customXmlProperties+xml"/>
  <Override PartName="/customXml/itemProps386.xml" ContentType="application/vnd.openxmlformats-officedocument.customXmlProperties+xml"/>
  <Override PartName="/customXml/itemProps387.xml" ContentType="application/vnd.openxmlformats-officedocument.customXmlProperties+xml"/>
  <Override PartName="/customXml/itemProps388.xml" ContentType="application/vnd.openxmlformats-officedocument.customXmlProperties+xml"/>
  <Override PartName="/customXml/itemProps389.xml" ContentType="application/vnd.openxmlformats-officedocument.customXmlProperties+xml"/>
  <Override PartName="/customXml/itemProps390.xml" ContentType="application/vnd.openxmlformats-officedocument.customXmlProperties+xml"/>
  <Override PartName="/customXml/itemProps391.xml" ContentType="application/vnd.openxmlformats-officedocument.customXmlProperties+xml"/>
  <Override PartName="/customXml/itemProps392.xml" ContentType="application/vnd.openxmlformats-officedocument.customXmlProperties+xml"/>
  <Override PartName="/customXml/itemProps393.xml" ContentType="application/vnd.openxmlformats-officedocument.customXmlProperties+xml"/>
  <Override PartName="/customXml/itemProps394.xml" ContentType="application/vnd.openxmlformats-officedocument.customXmlProperties+xml"/>
  <Override PartName="/customXml/itemProps395.xml" ContentType="application/vnd.openxmlformats-officedocument.customXmlProperties+xml"/>
  <Override PartName="/customXml/itemProps396.xml" ContentType="application/vnd.openxmlformats-officedocument.customXmlProperties+xml"/>
  <Override PartName="/customXml/itemProps397.xml" ContentType="application/vnd.openxmlformats-officedocument.customXmlProperties+xml"/>
  <Override PartName="/customXml/itemProps398.xml" ContentType="application/vnd.openxmlformats-officedocument.customXmlProperties+xml"/>
  <Override PartName="/customXml/itemProps399.xml" ContentType="application/vnd.openxmlformats-officedocument.customXmlProperties+xml"/>
  <Override PartName="/customXml/itemProps400.xml" ContentType="application/vnd.openxmlformats-officedocument.customXmlProperties+xml"/>
  <Override PartName="/customXml/itemProps401.xml" ContentType="application/vnd.openxmlformats-officedocument.customXmlProperties+xml"/>
  <Override PartName="/customXml/itemProps402.xml" ContentType="application/vnd.openxmlformats-officedocument.customXmlProperties+xml"/>
  <Override PartName="/customXml/itemProps403.xml" ContentType="application/vnd.openxmlformats-officedocument.customXmlProperties+xml"/>
  <Override PartName="/customXml/itemProps404.xml" ContentType="application/vnd.openxmlformats-officedocument.customXmlProperties+xml"/>
  <Override PartName="/customXml/itemProps405.xml" ContentType="application/vnd.openxmlformats-officedocument.customXmlProperties+xml"/>
  <Override PartName="/customXml/itemProps406.xml" ContentType="application/vnd.openxmlformats-officedocument.customXmlProperties+xml"/>
  <Override PartName="/customXml/itemProps407.xml" ContentType="application/vnd.openxmlformats-officedocument.customXmlProperties+xml"/>
  <Override PartName="/customXml/itemProps408.xml" ContentType="application/vnd.openxmlformats-officedocument.customXmlProperties+xml"/>
  <Override PartName="/customXml/itemProps409.xml" ContentType="application/vnd.openxmlformats-officedocument.customXmlProperties+xml"/>
  <Override PartName="/customXml/itemProps410.xml" ContentType="application/vnd.openxmlformats-officedocument.customXmlProperties+xml"/>
  <Override PartName="/customXml/itemProps411.xml" ContentType="application/vnd.openxmlformats-officedocument.customXmlProperties+xml"/>
  <Override PartName="/customXml/itemProps412.xml" ContentType="application/vnd.openxmlformats-officedocument.customXmlProperties+xml"/>
  <Override PartName="/customXml/itemProps413.xml" ContentType="application/vnd.openxmlformats-officedocument.customXmlProperties+xml"/>
  <Override PartName="/customXml/itemProps414.xml" ContentType="application/vnd.openxmlformats-officedocument.customXmlProperties+xml"/>
  <Override PartName="/customXml/itemProps415.xml" ContentType="application/vnd.openxmlformats-officedocument.customXmlProperties+xml"/>
  <Override PartName="/customXml/itemProps416.xml" ContentType="application/vnd.openxmlformats-officedocument.customXmlProperties+xml"/>
  <Override PartName="/customXml/itemProps417.xml" ContentType="application/vnd.openxmlformats-officedocument.customXmlProperties+xml"/>
  <Override PartName="/customXml/itemProps418.xml" ContentType="application/vnd.openxmlformats-officedocument.customXmlProperties+xml"/>
  <Override PartName="/customXml/itemProps419.xml" ContentType="application/vnd.openxmlformats-officedocument.customXmlProperties+xml"/>
  <Override PartName="/customXml/itemProps420.xml" ContentType="application/vnd.openxmlformats-officedocument.customXmlProperties+xml"/>
  <Override PartName="/customXml/itemProps421.xml" ContentType="application/vnd.openxmlformats-officedocument.customXmlProperties+xml"/>
  <Override PartName="/customXml/itemProps422.xml" ContentType="application/vnd.openxmlformats-officedocument.customXmlProperties+xml"/>
  <Override PartName="/customXml/itemProps423.xml" ContentType="application/vnd.openxmlformats-officedocument.customXmlProperties+xml"/>
  <Override PartName="/customXml/itemProps424.xml" ContentType="application/vnd.openxmlformats-officedocument.customXmlProperties+xml"/>
  <Override PartName="/customXml/itemProps425.xml" ContentType="application/vnd.openxmlformats-officedocument.customXmlProperties+xml"/>
  <Override PartName="/customXml/itemProps426.xml" ContentType="application/vnd.openxmlformats-officedocument.customXmlProperties+xml"/>
  <Override PartName="/customXml/itemProps427.xml" ContentType="application/vnd.openxmlformats-officedocument.customXmlProperties+xml"/>
  <Override PartName="/customXml/itemProps428.xml" ContentType="application/vnd.openxmlformats-officedocument.customXmlProperties+xml"/>
  <Override PartName="/customXml/itemProps429.xml" ContentType="application/vnd.openxmlformats-officedocument.customXmlProperties+xml"/>
  <Override PartName="/customXml/itemProps430.xml" ContentType="application/vnd.openxmlformats-officedocument.customXmlProperties+xml"/>
  <Override PartName="/customXml/itemProps431.xml" ContentType="application/vnd.openxmlformats-officedocument.customXmlProperties+xml"/>
  <Override PartName="/customXml/itemProps432.xml" ContentType="application/vnd.openxmlformats-officedocument.customXmlProperties+xml"/>
  <Override PartName="/customXml/itemProps433.xml" ContentType="application/vnd.openxmlformats-officedocument.customXmlProperties+xml"/>
  <Override PartName="/customXml/itemProps434.xml" ContentType="application/vnd.openxmlformats-officedocument.customXmlProperties+xml"/>
  <Override PartName="/customXml/itemProps435.xml" ContentType="application/vnd.openxmlformats-officedocument.customXmlProperties+xml"/>
  <Override PartName="/customXml/itemProps436.xml" ContentType="application/vnd.openxmlformats-officedocument.customXmlProperties+xml"/>
  <Override PartName="/customXml/itemProps437.xml" ContentType="application/vnd.openxmlformats-officedocument.customXmlProperties+xml"/>
  <Override PartName="/customXml/itemProps438.xml" ContentType="application/vnd.openxmlformats-officedocument.customXmlProperties+xml"/>
  <Override PartName="/customXml/itemProps439.xml" ContentType="application/vnd.openxmlformats-officedocument.customXmlProperties+xml"/>
  <Override PartName="/customXml/itemProps440.xml" ContentType="application/vnd.openxmlformats-officedocument.customXmlProperties+xml"/>
  <Override PartName="/customXml/itemProps441.xml" ContentType="application/vnd.openxmlformats-officedocument.customXmlProperties+xml"/>
  <Override PartName="/customXml/itemProps442.xml" ContentType="application/vnd.openxmlformats-officedocument.customXmlProperties+xml"/>
  <Override PartName="/customXml/itemProps443.xml" ContentType="application/vnd.openxmlformats-officedocument.customXmlProperties+xml"/>
  <Override PartName="/customXml/itemProps444.xml" ContentType="application/vnd.openxmlformats-officedocument.customXmlProperties+xml"/>
  <Override PartName="/customXml/itemProps445.xml" ContentType="application/vnd.openxmlformats-officedocument.customXmlProperties+xml"/>
  <Override PartName="/customXml/itemProps446.xml" ContentType="application/vnd.openxmlformats-officedocument.customXmlProperties+xml"/>
  <Override PartName="/customXml/itemProps447.xml" ContentType="application/vnd.openxmlformats-officedocument.customXmlProperties+xml"/>
  <Override PartName="/customXml/itemProps448.xml" ContentType="application/vnd.openxmlformats-officedocument.customXmlProperties+xml"/>
  <Override PartName="/customXml/itemProps449.xml" ContentType="application/vnd.openxmlformats-officedocument.customXmlProperties+xml"/>
  <Override PartName="/customXml/itemProps450.xml" ContentType="application/vnd.openxmlformats-officedocument.customXmlProperties+xml"/>
  <Override PartName="/customXml/itemProps451.xml" ContentType="application/vnd.openxmlformats-officedocument.customXmlProperties+xml"/>
  <Override PartName="/customXml/itemProps452.xml" ContentType="application/vnd.openxmlformats-officedocument.customXmlProperties+xml"/>
  <Override PartName="/customXml/itemProps453.xml" ContentType="application/vnd.openxmlformats-officedocument.customXmlProperties+xml"/>
  <Override PartName="/customXml/itemProps454.xml" ContentType="application/vnd.openxmlformats-officedocument.customXmlProperties+xml"/>
  <Override PartName="/customXml/itemProps455.xml" ContentType="application/vnd.openxmlformats-officedocument.customXmlProperties+xml"/>
  <Override PartName="/customXml/itemProps456.xml" ContentType="application/vnd.openxmlformats-officedocument.customXmlProperties+xml"/>
  <Override PartName="/customXml/itemProps457.xml" ContentType="application/vnd.openxmlformats-officedocument.customXmlProperties+xml"/>
  <Override PartName="/customXml/itemProps458.xml" ContentType="application/vnd.openxmlformats-officedocument.customXmlProperties+xml"/>
  <Override PartName="/customXml/itemProps459.xml" ContentType="application/vnd.openxmlformats-officedocument.customXmlProperties+xml"/>
  <Override PartName="/customXml/itemProps460.xml" ContentType="application/vnd.openxmlformats-officedocument.customXmlProperties+xml"/>
  <Override PartName="/customXml/itemProps461.xml" ContentType="application/vnd.openxmlformats-officedocument.customXmlProperties+xml"/>
  <Override PartName="/customXml/itemProps462.xml" ContentType="application/vnd.openxmlformats-officedocument.customXmlProperties+xml"/>
  <Override PartName="/customXml/itemProps463.xml" ContentType="application/vnd.openxmlformats-officedocument.customXmlProperties+xml"/>
  <Override PartName="/customXml/itemProps464.xml" ContentType="application/vnd.openxmlformats-officedocument.customXmlProperties+xml"/>
  <Override PartName="/customXml/itemProps465.xml" ContentType="application/vnd.openxmlformats-officedocument.customXmlProperties+xml"/>
  <Override PartName="/customXml/itemProps466.xml" ContentType="application/vnd.openxmlformats-officedocument.customXmlProperties+xml"/>
  <Override PartName="/customXml/itemProps467.xml" ContentType="application/vnd.openxmlformats-officedocument.customXmlProperties+xml"/>
  <Override PartName="/customXml/itemProps468.xml" ContentType="application/vnd.openxmlformats-officedocument.customXmlProperties+xml"/>
  <Override PartName="/customXml/itemProps469.xml" ContentType="application/vnd.openxmlformats-officedocument.customXmlProperties+xml"/>
  <Override PartName="/customXml/itemProps470.xml" ContentType="application/vnd.openxmlformats-officedocument.customXmlProperties+xml"/>
  <Override PartName="/customXml/itemProps471.xml" ContentType="application/vnd.openxmlformats-officedocument.customXmlProperties+xml"/>
  <Override PartName="/customXml/itemProps472.xml" ContentType="application/vnd.openxmlformats-officedocument.customXmlProperties+xml"/>
  <Override PartName="/customXml/itemProps473.xml" ContentType="application/vnd.openxmlformats-officedocument.customXmlProperties+xml"/>
  <Override PartName="/customXml/itemProps474.xml" ContentType="application/vnd.openxmlformats-officedocument.customXmlProperties+xml"/>
  <Override PartName="/customXml/itemProps475.xml" ContentType="application/vnd.openxmlformats-officedocument.customXmlProperties+xml"/>
  <Override PartName="/customXml/itemProps476.xml" ContentType="application/vnd.openxmlformats-officedocument.customXmlProperties+xml"/>
  <Override PartName="/customXml/itemProps477.xml" ContentType="application/vnd.openxmlformats-officedocument.customXmlProperties+xml"/>
  <Override PartName="/customXml/itemProps478.xml" ContentType="application/vnd.openxmlformats-officedocument.customXmlProperties+xml"/>
  <Override PartName="/customXml/itemProps479.xml" ContentType="application/vnd.openxmlformats-officedocument.customXmlProperties+xml"/>
  <Override PartName="/customXml/itemProps480.xml" ContentType="application/vnd.openxmlformats-officedocument.customXmlProperties+xml"/>
  <Override PartName="/customXml/itemProps481.xml" ContentType="application/vnd.openxmlformats-officedocument.customXmlProperties+xml"/>
  <Override PartName="/customXml/itemProps482.xml" ContentType="application/vnd.openxmlformats-officedocument.customXmlProperties+xml"/>
  <Override PartName="/customXml/itemProps483.xml" ContentType="application/vnd.openxmlformats-officedocument.customXmlProperties+xml"/>
  <Override PartName="/customXml/itemProps484.xml" ContentType="application/vnd.openxmlformats-officedocument.customXmlProperties+xml"/>
  <Override PartName="/customXml/itemProps485.xml" ContentType="application/vnd.openxmlformats-officedocument.customXmlProperties+xml"/>
  <Override PartName="/customXml/itemProps486.xml" ContentType="application/vnd.openxmlformats-officedocument.customXmlProperties+xml"/>
  <Override PartName="/customXml/itemProps487.xml" ContentType="application/vnd.openxmlformats-officedocument.customXmlProperties+xml"/>
  <Override PartName="/customXml/itemProps488.xml" ContentType="application/vnd.openxmlformats-officedocument.customXmlProperties+xml"/>
  <Override PartName="/customXml/itemProps489.xml" ContentType="application/vnd.openxmlformats-officedocument.customXmlProperties+xml"/>
  <Override PartName="/customXml/itemProps490.xml" ContentType="application/vnd.openxmlformats-officedocument.customXmlProperties+xml"/>
  <Override PartName="/customXml/itemProps491.xml" ContentType="application/vnd.openxmlformats-officedocument.customXmlProperties+xml"/>
  <Override PartName="/customXml/itemProps492.xml" ContentType="application/vnd.openxmlformats-officedocument.customXmlProperties+xml"/>
  <Override PartName="/customXml/itemProps493.xml" ContentType="application/vnd.openxmlformats-officedocument.customXmlProperties+xml"/>
  <Override PartName="/customXml/itemProps494.xml" ContentType="application/vnd.openxmlformats-officedocument.customXmlProperties+xml"/>
  <Override PartName="/customXml/itemProps495.xml" ContentType="application/vnd.openxmlformats-officedocument.customXmlProperties+xml"/>
  <Override PartName="/customXml/itemProps496.xml" ContentType="application/vnd.openxmlformats-officedocument.customXmlProperties+xml"/>
  <Override PartName="/customXml/itemProps497.xml" ContentType="application/vnd.openxmlformats-officedocument.customXmlProperties+xml"/>
  <Override PartName="/customXml/itemProps498.xml" ContentType="application/vnd.openxmlformats-officedocument.customXmlProperties+xml"/>
  <Override PartName="/customXml/itemProps499.xml" ContentType="application/vnd.openxmlformats-officedocument.customXmlProperties+xml"/>
  <Override PartName="/customXml/itemProps500.xml" ContentType="application/vnd.openxmlformats-officedocument.customXmlProperties+xml"/>
  <Override PartName="/customXml/itemProps501.xml" ContentType="application/vnd.openxmlformats-officedocument.customXmlProperties+xml"/>
  <Override PartName="/customXml/itemProps502.xml" ContentType="application/vnd.openxmlformats-officedocument.customXmlProperties+xml"/>
  <Override PartName="/customXml/itemProps503.xml" ContentType="application/vnd.openxmlformats-officedocument.customXmlProperties+xml"/>
  <Override PartName="/customXml/itemProps504.xml" ContentType="application/vnd.openxmlformats-officedocument.customXmlProperties+xml"/>
  <Override PartName="/customXml/itemProps505.xml" ContentType="application/vnd.openxmlformats-officedocument.customXmlProperties+xml"/>
  <Override PartName="/customXml/itemProps506.xml" ContentType="application/vnd.openxmlformats-officedocument.customXmlProperties+xml"/>
  <Override PartName="/customXml/itemProps507.xml" ContentType="application/vnd.openxmlformats-officedocument.customXmlProperties+xml"/>
  <Override PartName="/customXml/itemProps508.xml" ContentType="application/vnd.openxmlformats-officedocument.customXmlProperties+xml"/>
  <Override PartName="/customXml/itemProps509.xml" ContentType="application/vnd.openxmlformats-officedocument.customXmlProperties+xml"/>
  <Override PartName="/customXml/itemProps510.xml" ContentType="application/vnd.openxmlformats-officedocument.customXmlProperties+xml"/>
  <Override PartName="/customXml/itemProps511.xml" ContentType="application/vnd.openxmlformats-officedocument.customXmlProperties+xml"/>
  <Override PartName="/customXml/itemProps512.xml" ContentType="application/vnd.openxmlformats-officedocument.customXmlProperties+xml"/>
  <Override PartName="/customXml/itemProps513.xml" ContentType="application/vnd.openxmlformats-officedocument.customXmlProperties+xml"/>
  <Override PartName="/customXml/itemProps514.xml" ContentType="application/vnd.openxmlformats-officedocument.customXmlProperties+xml"/>
  <Override PartName="/customXml/itemProps515.xml" ContentType="application/vnd.openxmlformats-officedocument.customXmlProperties+xml"/>
  <Override PartName="/customXml/itemProps516.xml" ContentType="application/vnd.openxmlformats-officedocument.customXmlProperties+xml"/>
  <Override PartName="/customXml/itemProps517.xml" ContentType="application/vnd.openxmlformats-officedocument.customXmlProperties+xml"/>
  <Override PartName="/customXml/itemProps518.xml" ContentType="application/vnd.openxmlformats-officedocument.customXmlProperties+xml"/>
  <Override PartName="/customXml/itemProps519.xml" ContentType="application/vnd.openxmlformats-officedocument.customXmlProperties+xml"/>
  <Override PartName="/customXml/itemProps520.xml" ContentType="application/vnd.openxmlformats-officedocument.customXmlProperties+xml"/>
  <Override PartName="/customXml/itemProps521.xml" ContentType="application/vnd.openxmlformats-officedocument.customXmlProperties+xml"/>
  <Override PartName="/customXml/itemProps522.xml" ContentType="application/vnd.openxmlformats-officedocument.customXmlProperties+xml"/>
  <Override PartName="/customXml/itemProps523.xml" ContentType="application/vnd.openxmlformats-officedocument.customXmlProperties+xml"/>
  <Override PartName="/customXml/itemProps524.xml" ContentType="application/vnd.openxmlformats-officedocument.customXmlProperties+xml"/>
  <Override PartName="/customXml/itemProps525.xml" ContentType="application/vnd.openxmlformats-officedocument.customXmlProperties+xml"/>
  <Override PartName="/customXml/itemProps526.xml" ContentType="application/vnd.openxmlformats-officedocument.customXmlProperties+xml"/>
  <Override PartName="/customXml/itemProps527.xml" ContentType="application/vnd.openxmlformats-officedocument.customXmlProperties+xml"/>
  <Override PartName="/customXml/itemProps528.xml" ContentType="application/vnd.openxmlformats-officedocument.customXmlProperties+xml"/>
  <Override PartName="/customXml/itemProps529.xml" ContentType="application/vnd.openxmlformats-officedocument.customXmlProperties+xml"/>
  <Override PartName="/customXml/itemProps530.xml" ContentType="application/vnd.openxmlformats-officedocument.customXmlProperties+xml"/>
  <Override PartName="/customXml/itemProps531.xml" ContentType="application/vnd.openxmlformats-officedocument.customXmlProperties+xml"/>
  <Override PartName="/customXml/itemProps532.xml" ContentType="application/vnd.openxmlformats-officedocument.customXmlProperties+xml"/>
  <Override PartName="/customXml/itemProps533.xml" ContentType="application/vnd.openxmlformats-officedocument.customXmlProperties+xml"/>
  <Override PartName="/customXml/itemProps534.xml" ContentType="application/vnd.openxmlformats-officedocument.customXmlProperties+xml"/>
  <Override PartName="/customXml/itemProps535.xml" ContentType="application/vnd.openxmlformats-officedocument.customXmlProperties+xml"/>
  <Override PartName="/customXml/itemProps536.xml" ContentType="application/vnd.openxmlformats-officedocument.customXmlProperties+xml"/>
  <Override PartName="/customXml/itemProps537.xml" ContentType="application/vnd.openxmlformats-officedocument.customXmlProperties+xml"/>
  <Override PartName="/customXml/itemProps538.xml" ContentType="application/vnd.openxmlformats-officedocument.customXmlProperties+xml"/>
  <Override PartName="/customXml/itemProps539.xml" ContentType="application/vnd.openxmlformats-officedocument.customXmlProperties+xml"/>
  <Override PartName="/customXml/itemProps540.xml" ContentType="application/vnd.openxmlformats-officedocument.customXmlProperties+xml"/>
  <Override PartName="/customXml/itemProps541.xml" ContentType="application/vnd.openxmlformats-officedocument.customXmlProperties+xml"/>
  <Override PartName="/customXml/itemProps542.xml" ContentType="application/vnd.openxmlformats-officedocument.customXmlProperties+xml"/>
  <Override PartName="/customXml/itemProps543.xml" ContentType="application/vnd.openxmlformats-officedocument.customXmlProperties+xml"/>
  <Override PartName="/customXml/itemProps544.xml" ContentType="application/vnd.openxmlformats-officedocument.customXmlProperties+xml"/>
  <Override PartName="/customXml/itemProps545.xml" ContentType="application/vnd.openxmlformats-officedocument.customXmlProperties+xml"/>
  <Override PartName="/customXml/itemProps546.xml" ContentType="application/vnd.openxmlformats-officedocument.customXmlProperties+xml"/>
  <Override PartName="/customXml/itemProps547.xml" ContentType="application/vnd.openxmlformats-officedocument.customXmlProperties+xml"/>
  <Override PartName="/customXml/itemProps548.xml" ContentType="application/vnd.openxmlformats-officedocument.customXmlProperties+xml"/>
  <Override PartName="/customXml/itemProps549.xml" ContentType="application/vnd.openxmlformats-officedocument.customXmlProperties+xml"/>
  <Override PartName="/customXml/itemProps550.xml" ContentType="application/vnd.openxmlformats-officedocument.customXmlProperties+xml"/>
  <Override PartName="/customXml/itemProps551.xml" ContentType="application/vnd.openxmlformats-officedocument.customXmlProperties+xml"/>
  <Override PartName="/customXml/itemProps552.xml" ContentType="application/vnd.openxmlformats-officedocument.customXmlProperties+xml"/>
  <Override PartName="/customXml/itemProps553.xml" ContentType="application/vnd.openxmlformats-officedocument.customXmlProperties+xml"/>
  <Override PartName="/customXml/itemProps554.xml" ContentType="application/vnd.openxmlformats-officedocument.customXmlProperties+xml"/>
  <Override PartName="/customXml/itemProps555.xml" ContentType="application/vnd.openxmlformats-officedocument.customXmlProperties+xml"/>
  <Override PartName="/customXml/itemProps556.xml" ContentType="application/vnd.openxmlformats-officedocument.customXmlProperties+xml"/>
  <Override PartName="/customXml/itemProps557.xml" ContentType="application/vnd.openxmlformats-officedocument.customXmlProperties+xml"/>
  <Override PartName="/customXml/itemProps558.xml" ContentType="application/vnd.openxmlformats-officedocument.customXmlProperties+xml"/>
  <Override PartName="/customXml/itemProps559.xml" ContentType="application/vnd.openxmlformats-officedocument.customXmlProperties+xml"/>
  <Override PartName="/customXml/itemProps560.xml" ContentType="application/vnd.openxmlformats-officedocument.customXmlProperties+xml"/>
  <Override PartName="/customXml/itemProps561.xml" ContentType="application/vnd.openxmlformats-officedocument.customXmlProperties+xml"/>
  <Override PartName="/customXml/itemProps562.xml" ContentType="application/vnd.openxmlformats-officedocument.customXmlProperties+xml"/>
  <Override PartName="/customXml/itemProps563.xml" ContentType="application/vnd.openxmlformats-officedocument.customXmlProperties+xml"/>
  <Override PartName="/customXml/itemProps564.xml" ContentType="application/vnd.openxmlformats-officedocument.customXmlProperties+xml"/>
  <Override PartName="/customXml/itemProps565.xml" ContentType="application/vnd.openxmlformats-officedocument.customXmlProperties+xml"/>
  <Override PartName="/customXml/itemProps566.xml" ContentType="application/vnd.openxmlformats-officedocument.customXmlProperties+xml"/>
  <Override PartName="/customXml/itemProps567.xml" ContentType="application/vnd.openxmlformats-officedocument.customXmlProperties+xml"/>
  <Override PartName="/customXml/itemProps568.xml" ContentType="application/vnd.openxmlformats-officedocument.customXmlProperties+xml"/>
  <Override PartName="/customXml/itemProps569.xml" ContentType="application/vnd.openxmlformats-officedocument.customXmlProperties+xml"/>
  <Override PartName="/customXml/itemProps570.xml" ContentType="application/vnd.openxmlformats-officedocument.customXmlProperties+xml"/>
  <Override PartName="/customXml/itemProps571.xml" ContentType="application/vnd.openxmlformats-officedocument.customXmlProperties+xml"/>
  <Override PartName="/customXml/itemProps572.xml" ContentType="application/vnd.openxmlformats-officedocument.customXmlProperties+xml"/>
  <Override PartName="/customXml/itemProps573.xml" ContentType="application/vnd.openxmlformats-officedocument.customXmlProperties+xml"/>
  <Override PartName="/customXml/itemProps574.xml" ContentType="application/vnd.openxmlformats-officedocument.customXmlProperties+xml"/>
  <Override PartName="/customXml/itemProps575.xml" ContentType="application/vnd.openxmlformats-officedocument.customXmlProperties+xml"/>
  <Override PartName="/customXml/itemProps576.xml" ContentType="application/vnd.openxmlformats-officedocument.customXmlProperties+xml"/>
  <Override PartName="/customXml/itemProps577.xml" ContentType="application/vnd.openxmlformats-officedocument.customXmlProperties+xml"/>
  <Override PartName="/customXml/itemProps578.xml" ContentType="application/vnd.openxmlformats-officedocument.customXmlProperties+xml"/>
  <Override PartName="/customXml/itemProps579.xml" ContentType="application/vnd.openxmlformats-officedocument.customXmlProperties+xml"/>
  <Override PartName="/customXml/itemProps580.xml" ContentType="application/vnd.openxmlformats-officedocument.customXmlProperties+xml"/>
  <Override PartName="/customXml/itemProps581.xml" ContentType="application/vnd.openxmlformats-officedocument.customXmlProperties+xml"/>
  <Override PartName="/customXml/itemProps582.xml" ContentType="application/vnd.openxmlformats-officedocument.customXmlProperties+xml"/>
  <Override PartName="/customXml/itemProps583.xml" ContentType="application/vnd.openxmlformats-officedocument.customXmlProperties+xml"/>
  <Override PartName="/customXml/itemProps584.xml" ContentType="application/vnd.openxmlformats-officedocument.customXmlProperties+xml"/>
  <Override PartName="/customXml/itemProps585.xml" ContentType="application/vnd.openxmlformats-officedocument.customXmlProperties+xml"/>
  <Override PartName="/customXml/itemProps586.xml" ContentType="application/vnd.openxmlformats-officedocument.customXmlProperties+xml"/>
  <Override PartName="/customXml/itemProps587.xml" ContentType="application/vnd.openxmlformats-officedocument.customXmlProperties+xml"/>
  <Override PartName="/customXml/itemProps588.xml" ContentType="application/vnd.openxmlformats-officedocument.customXmlProperties+xml"/>
  <Override PartName="/customXml/itemProps589.xml" ContentType="application/vnd.openxmlformats-officedocument.customXmlProperties+xml"/>
  <Override PartName="/customXml/itemProps590.xml" ContentType="application/vnd.openxmlformats-officedocument.customXmlProperties+xml"/>
  <Override PartName="/customXml/itemProps591.xml" ContentType="application/vnd.openxmlformats-officedocument.customXmlProperties+xml"/>
  <Override PartName="/customXml/itemProps592.xml" ContentType="application/vnd.openxmlformats-officedocument.customXmlProperties+xml"/>
  <Override PartName="/customXml/itemProps593.xml" ContentType="application/vnd.openxmlformats-officedocument.customXmlProperties+xml"/>
  <Override PartName="/customXml/itemProps594.xml" ContentType="application/vnd.openxmlformats-officedocument.customXmlProperties+xml"/>
  <Override PartName="/customXml/itemProps595.xml" ContentType="application/vnd.openxmlformats-officedocument.customXmlProperties+xml"/>
  <Override PartName="/customXml/itemProps596.xml" ContentType="application/vnd.openxmlformats-officedocument.customXmlProperties+xml"/>
  <Override PartName="/customXml/itemProps597.xml" ContentType="application/vnd.openxmlformats-officedocument.customXmlProperties+xml"/>
  <Override PartName="/customXml/itemProps598.xml" ContentType="application/vnd.openxmlformats-officedocument.customXmlProperties+xml"/>
  <Override PartName="/customXml/itemProps599.xml" ContentType="application/vnd.openxmlformats-officedocument.customXmlProperties+xml"/>
  <Override PartName="/customXml/itemProps600.xml" ContentType="application/vnd.openxmlformats-officedocument.customXmlProperties+xml"/>
  <Override PartName="/customXml/itemProps601.xml" ContentType="application/vnd.openxmlformats-officedocument.customXmlProperties+xml"/>
  <Override PartName="/customXml/itemProps602.xml" ContentType="application/vnd.openxmlformats-officedocument.customXmlProperties+xml"/>
  <Override PartName="/customXml/itemProps603.xml" ContentType="application/vnd.openxmlformats-officedocument.customXmlProperties+xml"/>
  <Override PartName="/customXml/itemProps604.xml" ContentType="application/vnd.openxmlformats-officedocument.customXmlProperties+xml"/>
  <Override PartName="/customXml/itemProps605.xml" ContentType="application/vnd.openxmlformats-officedocument.customXmlProperties+xml"/>
  <Override PartName="/customXml/itemProps606.xml" ContentType="application/vnd.openxmlformats-officedocument.customXmlProperties+xml"/>
  <Override PartName="/customXml/itemProps607.xml" ContentType="application/vnd.openxmlformats-officedocument.customXmlProperties+xml"/>
  <Override PartName="/customXml/itemProps608.xml" ContentType="application/vnd.openxmlformats-officedocument.customXmlProperties+xml"/>
  <Override PartName="/customXml/itemProps609.xml" ContentType="application/vnd.openxmlformats-officedocument.customXmlProperties+xml"/>
  <Override PartName="/customXml/itemProps610.xml" ContentType="application/vnd.openxmlformats-officedocument.customXmlProperties+xml"/>
  <Override PartName="/customXml/itemProps611.xml" ContentType="application/vnd.openxmlformats-officedocument.customXmlProperties+xml"/>
  <Override PartName="/customXml/itemProps612.xml" ContentType="application/vnd.openxmlformats-officedocument.customXmlProperties+xml"/>
  <Override PartName="/customXml/itemProps613.xml" ContentType="application/vnd.openxmlformats-officedocument.customXmlProperties+xml"/>
  <Override PartName="/customXml/itemProps614.xml" ContentType="application/vnd.openxmlformats-officedocument.customXmlProperties+xml"/>
  <Override PartName="/customXml/itemProps615.xml" ContentType="application/vnd.openxmlformats-officedocument.customXmlProperties+xml"/>
  <Override PartName="/customXml/itemProps616.xml" ContentType="application/vnd.openxmlformats-officedocument.customXmlProperties+xml"/>
  <Override PartName="/customXml/itemProps617.xml" ContentType="application/vnd.openxmlformats-officedocument.customXmlProperties+xml"/>
  <Override PartName="/customXml/itemProps618.xml" ContentType="application/vnd.openxmlformats-officedocument.customXmlProperties+xml"/>
  <Override PartName="/customXml/itemProps619.xml" ContentType="application/vnd.openxmlformats-officedocument.customXmlProperties+xml"/>
  <Override PartName="/customXml/itemProps620.xml" ContentType="application/vnd.openxmlformats-officedocument.customXmlProperties+xml"/>
  <Override PartName="/customXml/itemProps621.xml" ContentType="application/vnd.openxmlformats-officedocument.customXmlProperties+xml"/>
  <Override PartName="/customXml/itemProps622.xml" ContentType="application/vnd.openxmlformats-officedocument.customXmlProperties+xml"/>
  <Override PartName="/customXml/itemProps623.xml" ContentType="application/vnd.openxmlformats-officedocument.customXmlProperties+xml"/>
  <Override PartName="/customXml/itemProps624.xml" ContentType="application/vnd.openxmlformats-officedocument.customXmlProperties+xml"/>
  <Override PartName="/customXml/itemProps625.xml" ContentType="application/vnd.openxmlformats-officedocument.customXmlProperties+xml"/>
  <Override PartName="/customXml/itemProps626.xml" ContentType="application/vnd.openxmlformats-officedocument.customXmlProperties+xml"/>
  <Override PartName="/customXml/itemProps627.xml" ContentType="application/vnd.openxmlformats-officedocument.customXmlProperties+xml"/>
  <Override PartName="/customXml/itemProps628.xml" ContentType="application/vnd.openxmlformats-officedocument.customXmlProperties+xml"/>
  <Override PartName="/customXml/itemProps629.xml" ContentType="application/vnd.openxmlformats-officedocument.customXmlProperties+xml"/>
  <Override PartName="/customXml/itemProps630.xml" ContentType="application/vnd.openxmlformats-officedocument.customXmlProperties+xml"/>
  <Override PartName="/customXml/itemProps631.xml" ContentType="application/vnd.openxmlformats-officedocument.customXmlProperties+xml"/>
  <Override PartName="/customXml/itemProps632.xml" ContentType="application/vnd.openxmlformats-officedocument.customXmlProperties+xml"/>
  <Override PartName="/customXml/itemProps633.xml" ContentType="application/vnd.openxmlformats-officedocument.customXmlProperties+xml"/>
  <Override PartName="/customXml/itemProps634.xml" ContentType="application/vnd.openxmlformats-officedocument.customXmlProperties+xml"/>
  <Override PartName="/customXml/itemProps635.xml" ContentType="application/vnd.openxmlformats-officedocument.customXmlProperties+xml"/>
  <Override PartName="/customXml/itemProps636.xml" ContentType="application/vnd.openxmlformats-officedocument.customXmlProperties+xml"/>
  <Override PartName="/customXml/itemProps637.xml" ContentType="application/vnd.openxmlformats-officedocument.customXmlProperties+xml"/>
  <Override PartName="/customXml/itemProps638.xml" ContentType="application/vnd.openxmlformats-officedocument.customXmlProperties+xml"/>
  <Override PartName="/customXml/itemProps639.xml" ContentType="application/vnd.openxmlformats-officedocument.customXmlProperties+xml"/>
  <Override PartName="/customXml/itemProps640.xml" ContentType="application/vnd.openxmlformats-officedocument.customXmlProperties+xml"/>
  <Override PartName="/customXml/itemProps641.xml" ContentType="application/vnd.openxmlformats-officedocument.customXmlProperties+xml"/>
  <Override PartName="/customXml/itemProps642.xml" ContentType="application/vnd.openxmlformats-officedocument.customXmlProperties+xml"/>
  <Override PartName="/customXml/itemProps643.xml" ContentType="application/vnd.openxmlformats-officedocument.customXmlProperties+xml"/>
  <Override PartName="/customXml/itemProps644.xml" ContentType="application/vnd.openxmlformats-officedocument.customXmlProperties+xml"/>
  <Override PartName="/customXml/itemProps645.xml" ContentType="application/vnd.openxmlformats-officedocument.customXmlProperties+xml"/>
  <Override PartName="/customXml/itemProps646.xml" ContentType="application/vnd.openxmlformats-officedocument.customXmlProperties+xml"/>
  <Override PartName="/customXml/itemProps647.xml" ContentType="application/vnd.openxmlformats-officedocument.customXmlProperties+xml"/>
  <Override PartName="/customXml/itemProps648.xml" ContentType="application/vnd.openxmlformats-officedocument.customXmlProperties+xml"/>
  <Override PartName="/customXml/itemProps649.xml" ContentType="application/vnd.openxmlformats-officedocument.customXmlProperties+xml"/>
  <Override PartName="/customXml/itemProps650.xml" ContentType="application/vnd.openxmlformats-officedocument.customXmlProperties+xml"/>
  <Override PartName="/customXml/itemProps651.xml" ContentType="application/vnd.openxmlformats-officedocument.customXmlProperties+xml"/>
  <Override PartName="/customXml/itemProps652.xml" ContentType="application/vnd.openxmlformats-officedocument.customXmlProperties+xml"/>
  <Override PartName="/customXml/itemProps653.xml" ContentType="application/vnd.openxmlformats-officedocument.customXmlProperties+xml"/>
  <Override PartName="/customXml/itemProps654.xml" ContentType="application/vnd.openxmlformats-officedocument.customXmlProperties+xml"/>
  <Override PartName="/customXml/itemProps655.xml" ContentType="application/vnd.openxmlformats-officedocument.customXmlProperties+xml"/>
  <Override PartName="/customXml/itemProps656.xml" ContentType="application/vnd.openxmlformats-officedocument.customXmlProperties+xml"/>
  <Override PartName="/customXml/itemProps657.xml" ContentType="application/vnd.openxmlformats-officedocument.customXmlProperties+xml"/>
  <Override PartName="/customXml/itemProps658.xml" ContentType="application/vnd.openxmlformats-officedocument.customXmlProperties+xml"/>
  <Override PartName="/customXml/itemProps659.xml" ContentType="application/vnd.openxmlformats-officedocument.customXmlProperties+xml"/>
  <Override PartName="/customXml/itemProps660.xml" ContentType="application/vnd.openxmlformats-officedocument.customXmlProperties+xml"/>
  <Override PartName="/customXml/itemProps661.xml" ContentType="application/vnd.openxmlformats-officedocument.customXmlProperties+xml"/>
  <Override PartName="/customXml/itemProps662.xml" ContentType="application/vnd.openxmlformats-officedocument.customXmlProperties+xml"/>
  <Override PartName="/customXml/itemProps663.xml" ContentType="application/vnd.openxmlformats-officedocument.customXmlProperties+xml"/>
  <Override PartName="/customXml/itemProps664.xml" ContentType="application/vnd.openxmlformats-officedocument.customXmlProperties+xml"/>
  <Override PartName="/customXml/itemProps665.xml" ContentType="application/vnd.openxmlformats-officedocument.customXmlProperties+xml"/>
  <Override PartName="/customXml/itemProps666.xml" ContentType="application/vnd.openxmlformats-officedocument.customXmlProperties+xml"/>
  <Override PartName="/customXml/itemProps667.xml" ContentType="application/vnd.openxmlformats-officedocument.customXmlProperties+xml"/>
  <Override PartName="/customXml/itemProps668.xml" ContentType="application/vnd.openxmlformats-officedocument.customXmlProperties+xml"/>
  <Override PartName="/customXml/itemProps669.xml" ContentType="application/vnd.openxmlformats-officedocument.customXmlProperties+xml"/>
  <Override PartName="/customXml/itemProps670.xml" ContentType="application/vnd.openxmlformats-officedocument.customXmlProperties+xml"/>
  <Override PartName="/customXml/itemProps671.xml" ContentType="application/vnd.openxmlformats-officedocument.customXmlProperties+xml"/>
  <Override PartName="/customXml/itemProps672.xml" ContentType="application/vnd.openxmlformats-officedocument.customXmlProperties+xml"/>
  <Override PartName="/customXml/itemProps673.xml" ContentType="application/vnd.openxmlformats-officedocument.customXmlProperties+xml"/>
  <Override PartName="/customXml/itemProps674.xml" ContentType="application/vnd.openxmlformats-officedocument.customXmlProperties+xml"/>
  <Override PartName="/customXml/itemProps675.xml" ContentType="application/vnd.openxmlformats-officedocument.customXmlProperties+xml"/>
  <Override PartName="/customXml/itemProps676.xml" ContentType="application/vnd.openxmlformats-officedocument.customXmlProperties+xml"/>
  <Override PartName="/customXml/itemProps677.xml" ContentType="application/vnd.openxmlformats-officedocument.customXmlProperties+xml"/>
  <Override PartName="/customXml/itemProps678.xml" ContentType="application/vnd.openxmlformats-officedocument.customXmlProperties+xml"/>
  <Override PartName="/customXml/itemProps679.xml" ContentType="application/vnd.openxmlformats-officedocument.customXmlProperties+xml"/>
  <Override PartName="/customXml/itemProps680.xml" ContentType="application/vnd.openxmlformats-officedocument.customXmlProperties+xml"/>
  <Override PartName="/customXml/itemProps681.xml" ContentType="application/vnd.openxmlformats-officedocument.customXmlProperties+xml"/>
  <Override PartName="/customXml/itemProps682.xml" ContentType="application/vnd.openxmlformats-officedocument.customXmlProperties+xml"/>
  <Override PartName="/customXml/itemProps683.xml" ContentType="application/vnd.openxmlformats-officedocument.customXmlProperties+xml"/>
  <Override PartName="/customXml/itemProps684.xml" ContentType="application/vnd.openxmlformats-officedocument.customXmlProperties+xml"/>
  <Override PartName="/customXml/itemProps685.xml" ContentType="application/vnd.openxmlformats-officedocument.customXmlProperties+xml"/>
  <Override PartName="/customXml/itemProps686.xml" ContentType="application/vnd.openxmlformats-officedocument.customXmlProperties+xml"/>
  <Override PartName="/customXml/itemProps687.xml" ContentType="application/vnd.openxmlformats-officedocument.customXmlProperties+xml"/>
  <Override PartName="/customXml/itemProps688.xml" ContentType="application/vnd.openxmlformats-officedocument.customXmlProperties+xml"/>
  <Override PartName="/customXml/itemProps689.xml" ContentType="application/vnd.openxmlformats-officedocument.customXmlProperties+xml"/>
  <Override PartName="/customXml/itemProps690.xml" ContentType="application/vnd.openxmlformats-officedocument.customXmlProperties+xml"/>
  <Override PartName="/customXml/itemProps691.xml" ContentType="application/vnd.openxmlformats-officedocument.customXmlProperties+xml"/>
  <Override PartName="/customXml/itemProps692.xml" ContentType="application/vnd.openxmlformats-officedocument.customXmlProperties+xml"/>
  <Override PartName="/customXml/itemProps693.xml" ContentType="application/vnd.openxmlformats-officedocument.customXmlProperties+xml"/>
  <Override PartName="/customXml/itemProps694.xml" ContentType="application/vnd.openxmlformats-officedocument.customXmlProperties+xml"/>
  <Override PartName="/customXml/itemProps695.xml" ContentType="application/vnd.openxmlformats-officedocument.customXmlProperties+xml"/>
  <Override PartName="/customXml/itemProps696.xml" ContentType="application/vnd.openxmlformats-officedocument.customXmlProperties+xml"/>
  <Override PartName="/customXml/itemProps697.xml" ContentType="application/vnd.openxmlformats-officedocument.customXmlProperties+xml"/>
  <Override PartName="/customXml/itemProps698.xml" ContentType="application/vnd.openxmlformats-officedocument.customXmlProperties+xml"/>
  <Override PartName="/customXml/itemProps699.xml" ContentType="application/vnd.openxmlformats-officedocument.customXmlProperties+xml"/>
  <Override PartName="/customXml/itemProps700.xml" ContentType="application/vnd.openxmlformats-officedocument.customXmlProperties+xml"/>
  <Override PartName="/customXml/itemProps701.xml" ContentType="application/vnd.openxmlformats-officedocument.customXmlProperties+xml"/>
  <Override PartName="/customXml/itemProps702.xml" ContentType="application/vnd.openxmlformats-officedocument.customXmlProperties+xml"/>
  <Override PartName="/customXml/itemProps703.xml" ContentType="application/vnd.openxmlformats-officedocument.customXmlProperties+xml"/>
  <Override PartName="/customXml/itemProps704.xml" ContentType="application/vnd.openxmlformats-officedocument.customXmlProperties+xml"/>
  <Override PartName="/customXml/itemProps705.xml" ContentType="application/vnd.openxmlformats-officedocument.customXmlProperties+xml"/>
  <Override PartName="/customXml/itemProps706.xml" ContentType="application/vnd.openxmlformats-officedocument.customXmlProperties+xml"/>
  <Override PartName="/customXml/itemProps707.xml" ContentType="application/vnd.openxmlformats-officedocument.customXmlProperties+xml"/>
  <Override PartName="/customXml/itemProps708.xml" ContentType="application/vnd.openxmlformats-officedocument.customXmlProperties+xml"/>
  <Override PartName="/customXml/itemProps709.xml" ContentType="application/vnd.openxmlformats-officedocument.customXmlProperties+xml"/>
  <Override PartName="/customXml/itemProps710.xml" ContentType="application/vnd.openxmlformats-officedocument.customXmlProperties+xml"/>
  <Override PartName="/customXml/itemProps711.xml" ContentType="application/vnd.openxmlformats-officedocument.customXmlProperties+xml"/>
  <Override PartName="/customXml/itemProps712.xml" ContentType="application/vnd.openxmlformats-officedocument.customXmlProperties+xml"/>
  <Override PartName="/customXml/itemProps713.xml" ContentType="application/vnd.openxmlformats-officedocument.customXmlProperties+xml"/>
  <Override PartName="/customXml/itemProps714.xml" ContentType="application/vnd.openxmlformats-officedocument.customXmlProperties+xml"/>
  <Override PartName="/customXml/itemProps715.xml" ContentType="application/vnd.openxmlformats-officedocument.customXmlProperties+xml"/>
  <Override PartName="/customXml/itemProps716.xml" ContentType="application/vnd.openxmlformats-officedocument.customXmlProperties+xml"/>
  <Override PartName="/customXml/itemProps717.xml" ContentType="application/vnd.openxmlformats-officedocument.customXmlProperties+xml"/>
  <Override PartName="/customXml/itemProps718.xml" ContentType="application/vnd.openxmlformats-officedocument.customXmlProperties+xml"/>
  <Override PartName="/customXml/itemProps719.xml" ContentType="application/vnd.openxmlformats-officedocument.customXmlProperties+xml"/>
  <Override PartName="/customXml/itemProps720.xml" ContentType="application/vnd.openxmlformats-officedocument.customXmlProperties+xml"/>
  <Override PartName="/customXml/itemProps721.xml" ContentType="application/vnd.openxmlformats-officedocument.customXmlProperties+xml"/>
  <Override PartName="/customXml/itemProps722.xml" ContentType="application/vnd.openxmlformats-officedocument.customXmlProperties+xml"/>
  <Override PartName="/customXml/itemProps723.xml" ContentType="application/vnd.openxmlformats-officedocument.customXmlProperties+xml"/>
  <Override PartName="/customXml/itemProps724.xml" ContentType="application/vnd.openxmlformats-officedocument.customXmlProperties+xml"/>
  <Override PartName="/customXml/itemProps725.xml" ContentType="application/vnd.openxmlformats-officedocument.customXmlProperties+xml"/>
  <Override PartName="/customXml/itemProps726.xml" ContentType="application/vnd.openxmlformats-officedocument.customXmlProperties+xml"/>
  <Override PartName="/customXml/itemProps727.xml" ContentType="application/vnd.openxmlformats-officedocument.customXmlProperties+xml"/>
  <Override PartName="/customXml/itemProps728.xml" ContentType="application/vnd.openxmlformats-officedocument.customXmlProperties+xml"/>
  <Override PartName="/customXml/itemProps729.xml" ContentType="application/vnd.openxmlformats-officedocument.customXmlProperties+xml"/>
  <Override PartName="/customXml/itemProps730.xml" ContentType="application/vnd.openxmlformats-officedocument.customXmlProperties+xml"/>
  <Override PartName="/customXml/itemProps731.xml" ContentType="application/vnd.openxmlformats-officedocument.customXmlProperties+xml"/>
  <Override PartName="/customXml/itemProps732.xml" ContentType="application/vnd.openxmlformats-officedocument.customXmlProperties+xml"/>
  <Override PartName="/customXml/itemProps733.xml" ContentType="application/vnd.openxmlformats-officedocument.customXmlProperties+xml"/>
  <Override PartName="/customXml/itemProps734.xml" ContentType="application/vnd.openxmlformats-officedocument.customXmlProperties+xml"/>
  <Override PartName="/customXml/itemProps735.xml" ContentType="application/vnd.openxmlformats-officedocument.customXmlProperties+xml"/>
  <Override PartName="/customXml/itemProps736.xml" ContentType="application/vnd.openxmlformats-officedocument.customXmlProperties+xml"/>
  <Override PartName="/customXml/itemProps737.xml" ContentType="application/vnd.openxmlformats-officedocument.customXmlProperties+xml"/>
  <Override PartName="/customXml/itemProps738.xml" ContentType="application/vnd.openxmlformats-officedocument.customXmlProperties+xml"/>
  <Override PartName="/customXml/itemProps739.xml" ContentType="application/vnd.openxmlformats-officedocument.customXmlProperties+xml"/>
  <Override PartName="/customXml/itemProps740.xml" ContentType="application/vnd.openxmlformats-officedocument.customXmlProperties+xml"/>
  <Override PartName="/customXml/itemProps741.xml" ContentType="application/vnd.openxmlformats-officedocument.customXmlProperties+xml"/>
  <Override PartName="/customXml/itemProps742.xml" ContentType="application/vnd.openxmlformats-officedocument.customXmlProperties+xml"/>
  <Override PartName="/customXml/itemProps743.xml" ContentType="application/vnd.openxmlformats-officedocument.customXmlProperties+xml"/>
  <Override PartName="/customXml/itemProps744.xml" ContentType="application/vnd.openxmlformats-officedocument.customXmlProperties+xml"/>
  <Override PartName="/customXml/itemProps745.xml" ContentType="application/vnd.openxmlformats-officedocument.customXmlProperties+xml"/>
  <Override PartName="/customXml/itemProps746.xml" ContentType="application/vnd.openxmlformats-officedocument.customXmlProperties+xml"/>
  <Override PartName="/customXml/itemProps747.xml" ContentType="application/vnd.openxmlformats-officedocument.customXmlProperties+xml"/>
  <Override PartName="/customXml/itemProps748.xml" ContentType="application/vnd.openxmlformats-officedocument.customXmlProperties+xml"/>
  <Override PartName="/customXml/itemProps749.xml" ContentType="application/vnd.openxmlformats-officedocument.customXmlProperties+xml"/>
  <Override PartName="/customXml/itemProps750.xml" ContentType="application/vnd.openxmlformats-officedocument.customXmlProperties+xml"/>
  <Override PartName="/customXml/itemProps751.xml" ContentType="application/vnd.openxmlformats-officedocument.customXmlProperties+xml"/>
  <Override PartName="/customXml/itemProps752.xml" ContentType="application/vnd.openxmlformats-officedocument.customXmlProperties+xml"/>
  <Override PartName="/customXml/itemProps753.xml" ContentType="application/vnd.openxmlformats-officedocument.customXmlProperties+xml"/>
  <Override PartName="/customXml/itemProps754.xml" ContentType="application/vnd.openxmlformats-officedocument.customXmlProperties+xml"/>
  <Override PartName="/customXml/itemProps755.xml" ContentType="application/vnd.openxmlformats-officedocument.customXmlProperties+xml"/>
  <Override PartName="/customXml/itemProps756.xml" ContentType="application/vnd.openxmlformats-officedocument.customXmlProperties+xml"/>
  <Override PartName="/customXml/itemProps757.xml" ContentType="application/vnd.openxmlformats-officedocument.customXmlProperties+xml"/>
  <Override PartName="/customXml/itemProps758.xml" ContentType="application/vnd.openxmlformats-officedocument.customXmlProperties+xml"/>
  <Override PartName="/customXml/itemProps759.xml" ContentType="application/vnd.openxmlformats-officedocument.customXmlProperties+xml"/>
  <Override PartName="/customXml/itemProps760.xml" ContentType="application/vnd.openxmlformats-officedocument.customXmlProperties+xml"/>
  <Override PartName="/customXml/itemProps761.xml" ContentType="application/vnd.openxmlformats-officedocument.customXmlProperties+xml"/>
  <Override PartName="/customXml/itemProps762.xml" ContentType="application/vnd.openxmlformats-officedocument.customXmlProperties+xml"/>
  <Override PartName="/customXml/itemProps763.xml" ContentType="application/vnd.openxmlformats-officedocument.customXmlProperties+xml"/>
  <Override PartName="/customXml/itemProps764.xml" ContentType="application/vnd.openxmlformats-officedocument.customXmlProperties+xml"/>
  <Override PartName="/customXml/itemProps765.xml" ContentType="application/vnd.openxmlformats-officedocument.customXmlProperties+xml"/>
  <Override PartName="/customXml/itemProps766.xml" ContentType="application/vnd.openxmlformats-officedocument.customXmlProperties+xml"/>
  <Override PartName="/customXml/itemProps767.xml" ContentType="application/vnd.openxmlformats-officedocument.customXmlProperties+xml"/>
  <Override PartName="/customXml/itemProps768.xml" ContentType="application/vnd.openxmlformats-officedocument.customXmlProperties+xml"/>
  <Override PartName="/customXml/itemProps769.xml" ContentType="application/vnd.openxmlformats-officedocument.customXmlProperties+xml"/>
  <Override PartName="/customXml/itemProps770.xml" ContentType="application/vnd.openxmlformats-officedocument.customXmlProperties+xml"/>
  <Override PartName="/customXml/itemProps771.xml" ContentType="application/vnd.openxmlformats-officedocument.customXmlProperties+xml"/>
  <Override PartName="/customXml/itemProps772.xml" ContentType="application/vnd.openxmlformats-officedocument.customXmlProperties+xml"/>
  <Override PartName="/customXml/itemProps773.xml" ContentType="application/vnd.openxmlformats-officedocument.customXmlProperties+xml"/>
  <Override PartName="/customXml/itemProps774.xml" ContentType="application/vnd.openxmlformats-officedocument.customXmlProperties+xml"/>
  <Override PartName="/customXml/itemProps775.xml" ContentType="application/vnd.openxmlformats-officedocument.customXmlProperties+xml"/>
  <Override PartName="/customXml/itemProps776.xml" ContentType="application/vnd.openxmlformats-officedocument.customXmlProperties+xml"/>
  <Override PartName="/customXml/itemProps777.xml" ContentType="application/vnd.openxmlformats-officedocument.customXmlProperties+xml"/>
  <Override PartName="/customXml/itemProps778.xml" ContentType="application/vnd.openxmlformats-officedocument.customXmlProperties+xml"/>
  <Override PartName="/customXml/itemProps779.xml" ContentType="application/vnd.openxmlformats-officedocument.customXmlProperties+xml"/>
  <Override PartName="/customXml/itemProps780.xml" ContentType="application/vnd.openxmlformats-officedocument.customXmlProperties+xml"/>
  <Override PartName="/customXml/itemProps781.xml" ContentType="application/vnd.openxmlformats-officedocument.customXmlProperties+xml"/>
  <Override PartName="/customXml/itemProps782.xml" ContentType="application/vnd.openxmlformats-officedocument.customXmlProperties+xml"/>
  <Override PartName="/customXml/itemProps783.xml" ContentType="application/vnd.openxmlformats-officedocument.customXmlProperties+xml"/>
  <Override PartName="/customXml/itemProps784.xml" ContentType="application/vnd.openxmlformats-officedocument.customXmlProperties+xml"/>
  <Override PartName="/customXml/itemProps785.xml" ContentType="application/vnd.openxmlformats-officedocument.customXmlProperties+xml"/>
  <Override PartName="/customXml/itemProps786.xml" ContentType="application/vnd.openxmlformats-officedocument.customXmlProperties+xml"/>
  <Override PartName="/customXml/itemProps787.xml" ContentType="application/vnd.openxmlformats-officedocument.customXmlProperties+xml"/>
  <Override PartName="/customXml/itemProps788.xml" ContentType="application/vnd.openxmlformats-officedocument.customXmlProperties+xml"/>
  <Override PartName="/customXml/itemProps789.xml" ContentType="application/vnd.openxmlformats-officedocument.customXmlProperties+xml"/>
  <Override PartName="/customXml/itemProps790.xml" ContentType="application/vnd.openxmlformats-officedocument.customXmlProperties+xml"/>
  <Override PartName="/customXml/itemProps791.xml" ContentType="application/vnd.openxmlformats-officedocument.customXmlProperties+xml"/>
  <Override PartName="/customXml/itemProps792.xml" ContentType="application/vnd.openxmlformats-officedocument.customXmlProperties+xml"/>
  <Override PartName="/customXml/itemProps793.xml" ContentType="application/vnd.openxmlformats-officedocument.customXmlProperties+xml"/>
  <Override PartName="/customXml/itemProps794.xml" ContentType="application/vnd.openxmlformats-officedocument.customXmlProperties+xml"/>
  <Override PartName="/customXml/itemProps795.xml" ContentType="application/vnd.openxmlformats-officedocument.customXmlProperties+xml"/>
  <Override PartName="/customXml/itemProps796.xml" ContentType="application/vnd.openxmlformats-officedocument.customXmlProperties+xml"/>
  <Override PartName="/customXml/itemProps797.xml" ContentType="application/vnd.openxmlformats-officedocument.customXmlProperties+xml"/>
  <Override PartName="/customXml/itemProps798.xml" ContentType="application/vnd.openxmlformats-officedocument.customXmlProperties+xml"/>
  <Override PartName="/customXml/itemProps799.xml" ContentType="application/vnd.openxmlformats-officedocument.customXmlProperties+xml"/>
  <Override PartName="/customXml/itemProps800.xml" ContentType="application/vnd.openxmlformats-officedocument.customXmlProperties+xml"/>
  <Override PartName="/customXml/itemProps801.xml" ContentType="application/vnd.openxmlformats-officedocument.customXmlProperties+xml"/>
  <Override PartName="/customXml/itemProps802.xml" ContentType="application/vnd.openxmlformats-officedocument.customXmlProperties+xml"/>
  <Override PartName="/customXml/itemProps803.xml" ContentType="application/vnd.openxmlformats-officedocument.customXmlProperties+xml"/>
  <Override PartName="/customXml/itemProps804.xml" ContentType="application/vnd.openxmlformats-officedocument.customXmlProperties+xml"/>
  <Override PartName="/customXml/itemProps805.xml" ContentType="application/vnd.openxmlformats-officedocument.customXmlProperties+xml"/>
  <Override PartName="/customXml/itemProps806.xml" ContentType="application/vnd.openxmlformats-officedocument.customXmlProperties+xml"/>
  <Override PartName="/customXml/itemProps807.xml" ContentType="application/vnd.openxmlformats-officedocument.customXmlProperties+xml"/>
  <Override PartName="/customXml/itemProps808.xml" ContentType="application/vnd.openxmlformats-officedocument.customXmlProperties+xml"/>
  <Override PartName="/customXml/itemProps809.xml" ContentType="application/vnd.openxmlformats-officedocument.customXmlProperties+xml"/>
  <Override PartName="/customXml/itemProps810.xml" ContentType="application/vnd.openxmlformats-officedocument.customXmlProperties+xml"/>
  <Override PartName="/customXml/itemProps811.xml" ContentType="application/vnd.openxmlformats-officedocument.customXmlProperties+xml"/>
  <Override PartName="/customXml/itemProps812.xml" ContentType="application/vnd.openxmlformats-officedocument.customXmlProperties+xml"/>
  <Override PartName="/customXml/itemProps813.xml" ContentType="application/vnd.openxmlformats-officedocument.customXmlProperties+xml"/>
  <Override PartName="/customXml/itemProps814.xml" ContentType="application/vnd.openxmlformats-officedocument.customXmlProperties+xml"/>
  <Override PartName="/customXml/itemProps815.xml" ContentType="application/vnd.openxmlformats-officedocument.customXmlProperties+xml"/>
  <Override PartName="/customXml/itemProps816.xml" ContentType="application/vnd.openxmlformats-officedocument.customXmlProperties+xml"/>
  <Override PartName="/customXml/itemProps817.xml" ContentType="application/vnd.openxmlformats-officedocument.customXmlProperties+xml"/>
  <Override PartName="/customXml/itemProps818.xml" ContentType="application/vnd.openxmlformats-officedocument.customXmlProperties+xml"/>
  <Override PartName="/customXml/itemProps819.xml" ContentType="application/vnd.openxmlformats-officedocument.customXmlProperties+xml"/>
  <Override PartName="/customXml/itemProps820.xml" ContentType="application/vnd.openxmlformats-officedocument.customXmlProperties+xml"/>
  <Override PartName="/customXml/itemProps821.xml" ContentType="application/vnd.openxmlformats-officedocument.customXmlProperties+xml"/>
  <Override PartName="/customXml/itemProps822.xml" ContentType="application/vnd.openxmlformats-officedocument.customXmlProperties+xml"/>
  <Override PartName="/customXml/itemProps823.xml" ContentType="application/vnd.openxmlformats-officedocument.customXmlProperties+xml"/>
  <Override PartName="/customXml/itemProps824.xml" ContentType="application/vnd.openxmlformats-officedocument.customXmlProperties+xml"/>
  <Override PartName="/customXml/itemProps825.xml" ContentType="application/vnd.openxmlformats-officedocument.customXmlProperties+xml"/>
  <Override PartName="/customXml/itemProps826.xml" ContentType="application/vnd.openxmlformats-officedocument.customXmlProperties+xml"/>
  <Override PartName="/customXml/itemProps827.xml" ContentType="application/vnd.openxmlformats-officedocument.customXmlProperties+xml"/>
  <Override PartName="/customXml/itemProps828.xml" ContentType="application/vnd.openxmlformats-officedocument.customXmlProperties+xml"/>
  <Override PartName="/customXml/itemProps829.xml" ContentType="application/vnd.openxmlformats-officedocument.customXmlProperties+xml"/>
  <Override PartName="/customXml/itemProps830.xml" ContentType="application/vnd.openxmlformats-officedocument.customXmlProperties+xml"/>
  <Override PartName="/customXml/itemProps831.xml" ContentType="application/vnd.openxmlformats-officedocument.customXmlProperties+xml"/>
  <Override PartName="/customXml/itemProps832.xml" ContentType="application/vnd.openxmlformats-officedocument.customXmlProperties+xml"/>
  <Override PartName="/customXml/itemProps833.xml" ContentType="application/vnd.openxmlformats-officedocument.customXmlProperties+xml"/>
  <Override PartName="/customXml/itemProps834.xml" ContentType="application/vnd.openxmlformats-officedocument.customXmlProperties+xml"/>
  <Override PartName="/customXml/itemProps835.xml" ContentType="application/vnd.openxmlformats-officedocument.customXmlProperties+xml"/>
  <Override PartName="/customXml/itemProps836.xml" ContentType="application/vnd.openxmlformats-officedocument.customXmlProperties+xml"/>
  <Override PartName="/customXml/itemProps837.xml" ContentType="application/vnd.openxmlformats-officedocument.customXmlProperties+xml"/>
  <Override PartName="/customXml/itemProps838.xml" ContentType="application/vnd.openxmlformats-officedocument.customXmlProperties+xml"/>
  <Override PartName="/customXml/itemProps839.xml" ContentType="application/vnd.openxmlformats-officedocument.customXmlProperties+xml"/>
  <Override PartName="/customXml/itemProps840.xml" ContentType="application/vnd.openxmlformats-officedocument.customXmlProperties+xml"/>
  <Override PartName="/customXml/itemProps841.xml" ContentType="application/vnd.openxmlformats-officedocument.customXmlProperties+xml"/>
  <Override PartName="/customXml/itemProps842.xml" ContentType="application/vnd.openxmlformats-officedocument.customXmlProperties+xml"/>
  <Override PartName="/customXml/itemProps843.xml" ContentType="application/vnd.openxmlformats-officedocument.customXmlProperties+xml"/>
  <Override PartName="/customXml/itemProps844.xml" ContentType="application/vnd.openxmlformats-officedocument.customXmlProperties+xml"/>
  <Override PartName="/customXml/itemProps845.xml" ContentType="application/vnd.openxmlformats-officedocument.customXmlProperties+xml"/>
  <Override PartName="/customXml/itemProps846.xml" ContentType="application/vnd.openxmlformats-officedocument.customXmlProperties+xml"/>
  <Override PartName="/customXml/itemProps847.xml" ContentType="application/vnd.openxmlformats-officedocument.customXmlProperties+xml"/>
  <Override PartName="/customXml/itemProps848.xml" ContentType="application/vnd.openxmlformats-officedocument.customXmlProperties+xml"/>
  <Override PartName="/customXml/itemProps849.xml" ContentType="application/vnd.openxmlformats-officedocument.customXmlProperties+xml"/>
  <Override PartName="/customXml/itemProps850.xml" ContentType="application/vnd.openxmlformats-officedocument.customXmlProperties+xml"/>
  <Override PartName="/customXml/itemProps851.xml" ContentType="application/vnd.openxmlformats-officedocument.customXmlProperties+xml"/>
  <Override PartName="/customXml/itemProps852.xml" ContentType="application/vnd.openxmlformats-officedocument.customXmlProperties+xml"/>
  <Override PartName="/customXml/itemProps853.xml" ContentType="application/vnd.openxmlformats-officedocument.customXmlProperties+xml"/>
  <Override PartName="/customXml/itemProps854.xml" ContentType="application/vnd.openxmlformats-officedocument.customXmlProperties+xml"/>
  <Override PartName="/customXml/itemProps855.xml" ContentType="application/vnd.openxmlformats-officedocument.customXmlProperties+xml"/>
  <Override PartName="/customXml/itemProps856.xml" ContentType="application/vnd.openxmlformats-officedocument.customXmlProperties+xml"/>
  <Override PartName="/customXml/itemProps857.xml" ContentType="application/vnd.openxmlformats-officedocument.customXmlProperties+xml"/>
  <Override PartName="/customXml/itemProps858.xml" ContentType="application/vnd.openxmlformats-officedocument.customXmlProperties+xml"/>
  <Override PartName="/customXml/itemProps859.xml" ContentType="application/vnd.openxmlformats-officedocument.customXmlProperties+xml"/>
  <Override PartName="/customXml/itemProps860.xml" ContentType="application/vnd.openxmlformats-officedocument.customXmlProperties+xml"/>
  <Override PartName="/customXml/itemProps861.xml" ContentType="application/vnd.openxmlformats-officedocument.customXmlProperties+xml"/>
  <Override PartName="/customXml/itemProps862.xml" ContentType="application/vnd.openxmlformats-officedocument.customXmlProperties+xml"/>
  <Override PartName="/customXml/itemProps863.xml" ContentType="application/vnd.openxmlformats-officedocument.customXmlProperties+xml"/>
  <Override PartName="/customXml/itemProps864.xml" ContentType="application/vnd.openxmlformats-officedocument.customXmlProperties+xml"/>
  <Override PartName="/customXml/itemProps865.xml" ContentType="application/vnd.openxmlformats-officedocument.customXmlProperties+xml"/>
  <Override PartName="/customXml/itemProps866.xml" ContentType="application/vnd.openxmlformats-officedocument.customXmlProperties+xml"/>
  <Override PartName="/customXml/itemProps867.xml" ContentType="application/vnd.openxmlformats-officedocument.customXmlProperties+xml"/>
  <Override PartName="/customXml/itemProps868.xml" ContentType="application/vnd.openxmlformats-officedocument.customXmlProperties+xml"/>
  <Override PartName="/customXml/itemProps869.xml" ContentType="application/vnd.openxmlformats-officedocument.customXmlProperties+xml"/>
  <Override PartName="/customXml/itemProps870.xml" ContentType="application/vnd.openxmlformats-officedocument.customXmlProperties+xml"/>
  <Override PartName="/customXml/itemProps871.xml" ContentType="application/vnd.openxmlformats-officedocument.customXmlProperties+xml"/>
  <Override PartName="/customXml/itemProps872.xml" ContentType="application/vnd.openxmlformats-officedocument.customXmlProperties+xml"/>
  <Override PartName="/customXml/itemProps873.xml" ContentType="application/vnd.openxmlformats-officedocument.customXmlProperties+xml"/>
  <Override PartName="/customXml/itemProps874.xml" ContentType="application/vnd.openxmlformats-officedocument.customXmlProperties+xml"/>
  <Override PartName="/customXml/itemProps875.xml" ContentType="application/vnd.openxmlformats-officedocument.customXmlProperties+xml"/>
  <Override PartName="/customXml/itemProps876.xml" ContentType="application/vnd.openxmlformats-officedocument.customXmlProperties+xml"/>
  <Override PartName="/customXml/itemProps877.xml" ContentType="application/vnd.openxmlformats-officedocument.customXmlProperties+xml"/>
  <Override PartName="/customXml/itemProps878.xml" ContentType="application/vnd.openxmlformats-officedocument.customXmlProperties+xml"/>
  <Override PartName="/customXml/itemProps879.xml" ContentType="application/vnd.openxmlformats-officedocument.customXmlProperties+xml"/>
  <Override PartName="/customXml/itemProps880.xml" ContentType="application/vnd.openxmlformats-officedocument.customXmlProperties+xml"/>
  <Override PartName="/customXml/itemProps881.xml" ContentType="application/vnd.openxmlformats-officedocument.customXmlProperties+xml"/>
  <Override PartName="/customXml/itemProps882.xml" ContentType="application/vnd.openxmlformats-officedocument.customXmlProperties+xml"/>
  <Override PartName="/customXml/itemProps883.xml" ContentType="application/vnd.openxmlformats-officedocument.customXmlProperties+xml"/>
  <Override PartName="/customXml/itemProps884.xml" ContentType="application/vnd.openxmlformats-officedocument.customXmlProperties+xml"/>
  <Override PartName="/customXml/itemProps885.xml" ContentType="application/vnd.openxmlformats-officedocument.customXmlProperties+xml"/>
  <Override PartName="/customXml/itemProps886.xml" ContentType="application/vnd.openxmlformats-officedocument.customXmlProperties+xml"/>
  <Override PartName="/customXml/itemProps887.xml" ContentType="application/vnd.openxmlformats-officedocument.customXmlProperties+xml"/>
  <Override PartName="/customXml/itemProps888.xml" ContentType="application/vnd.openxmlformats-officedocument.customXmlProperties+xml"/>
  <Override PartName="/customXml/itemProps889.xml" ContentType="application/vnd.openxmlformats-officedocument.customXmlProperties+xml"/>
  <Override PartName="/customXml/itemProps890.xml" ContentType="application/vnd.openxmlformats-officedocument.customXmlProperties+xml"/>
  <Override PartName="/customXml/itemProps891.xml" ContentType="application/vnd.openxmlformats-officedocument.customXmlProperties+xml"/>
  <Override PartName="/customXml/itemProps892.xml" ContentType="application/vnd.openxmlformats-officedocument.customXmlProperties+xml"/>
  <Override PartName="/customXml/itemProps893.xml" ContentType="application/vnd.openxmlformats-officedocument.customXmlProperties+xml"/>
  <Override PartName="/customXml/itemProps894.xml" ContentType="application/vnd.openxmlformats-officedocument.customXmlProperties+xml"/>
  <Override PartName="/customXml/itemProps895.xml" ContentType="application/vnd.openxmlformats-officedocument.customXmlProperties+xml"/>
  <Override PartName="/customXml/itemProps896.xml" ContentType="application/vnd.openxmlformats-officedocument.customXmlProperties+xml"/>
  <Override PartName="/customXml/itemProps897.xml" ContentType="application/vnd.openxmlformats-officedocument.customXmlProperties+xml"/>
  <Override PartName="/customXml/itemProps898.xml" ContentType="application/vnd.openxmlformats-officedocument.customXmlProperties+xml"/>
  <Override PartName="/customXml/itemProps899.xml" ContentType="application/vnd.openxmlformats-officedocument.customXmlProperties+xml"/>
  <Override PartName="/customXml/itemProps900.xml" ContentType="application/vnd.openxmlformats-officedocument.customXmlProperties+xml"/>
  <Override PartName="/customXml/itemProps901.xml" ContentType="application/vnd.openxmlformats-officedocument.customXmlProperties+xml"/>
  <Override PartName="/customXml/itemProps902.xml" ContentType="application/vnd.openxmlformats-officedocument.customXmlProperties+xml"/>
  <Override PartName="/customXml/itemProps903.xml" ContentType="application/vnd.openxmlformats-officedocument.customXmlProperties+xml"/>
  <Override PartName="/customXml/itemProps904.xml" ContentType="application/vnd.openxmlformats-officedocument.customXmlProperties+xml"/>
  <Override PartName="/customXml/itemProps905.xml" ContentType="application/vnd.openxmlformats-officedocument.customXmlProperties+xml"/>
  <Override PartName="/customXml/itemProps906.xml" ContentType="application/vnd.openxmlformats-officedocument.customXmlProperties+xml"/>
  <Override PartName="/customXml/itemProps907.xml" ContentType="application/vnd.openxmlformats-officedocument.customXmlProperties+xml"/>
  <Override PartName="/customXml/itemProps908.xml" ContentType="application/vnd.openxmlformats-officedocument.customXmlProperties+xml"/>
  <Override PartName="/customXml/itemProps909.xml" ContentType="application/vnd.openxmlformats-officedocument.customXmlProperties+xml"/>
  <Override PartName="/customXml/itemProps910.xml" ContentType="application/vnd.openxmlformats-officedocument.customXmlProperties+xml"/>
  <Override PartName="/customXml/itemProps911.xml" ContentType="application/vnd.openxmlformats-officedocument.customXmlProperties+xml"/>
  <Override PartName="/customXml/itemProps912.xml" ContentType="application/vnd.openxmlformats-officedocument.customXmlProperties+xml"/>
  <Override PartName="/customXml/itemProps913.xml" ContentType="application/vnd.openxmlformats-officedocument.customXmlProperties+xml"/>
  <Override PartName="/customXml/itemProps914.xml" ContentType="application/vnd.openxmlformats-officedocument.customXmlProperties+xml"/>
  <Override PartName="/customXml/itemProps915.xml" ContentType="application/vnd.openxmlformats-officedocument.customXmlProperties+xml"/>
  <Override PartName="/customXml/itemProps916.xml" ContentType="application/vnd.openxmlformats-officedocument.customXmlProperties+xml"/>
  <Override PartName="/customXml/itemProps917.xml" ContentType="application/vnd.openxmlformats-officedocument.customXmlProperties+xml"/>
  <Override PartName="/customXml/itemProps918.xml" ContentType="application/vnd.openxmlformats-officedocument.customXmlProperties+xml"/>
  <Override PartName="/customXml/itemProps919.xml" ContentType="application/vnd.openxmlformats-officedocument.customXmlProperties+xml"/>
  <Override PartName="/customXml/itemProps920.xml" ContentType="application/vnd.openxmlformats-officedocument.customXmlProperties+xml"/>
  <Override PartName="/customXml/itemProps921.xml" ContentType="application/vnd.openxmlformats-officedocument.customXmlProperties+xml"/>
  <Override PartName="/customXml/itemProps922.xml" ContentType="application/vnd.openxmlformats-officedocument.customXmlProperties+xml"/>
  <Override PartName="/customXml/itemProps923.xml" ContentType="application/vnd.openxmlformats-officedocument.customXmlProperties+xml"/>
  <Override PartName="/customXml/itemProps924.xml" ContentType="application/vnd.openxmlformats-officedocument.customXmlProperties+xml"/>
  <Override PartName="/customXml/itemProps925.xml" ContentType="application/vnd.openxmlformats-officedocument.customXmlProperties+xml"/>
  <Override PartName="/customXml/itemProps926.xml" ContentType="application/vnd.openxmlformats-officedocument.customXmlProperties+xml"/>
  <Override PartName="/customXml/itemProps927.xml" ContentType="application/vnd.openxmlformats-officedocument.customXmlProperties+xml"/>
  <Override PartName="/customXml/itemProps928.xml" ContentType="application/vnd.openxmlformats-officedocument.customXmlProperties+xml"/>
  <Override PartName="/customXml/itemProps929.xml" ContentType="application/vnd.openxmlformats-officedocument.customXmlProperties+xml"/>
  <Override PartName="/customXml/itemProps930.xml" ContentType="application/vnd.openxmlformats-officedocument.customXmlProperties+xml"/>
  <Override PartName="/customXml/itemProps931.xml" ContentType="application/vnd.openxmlformats-officedocument.customXmlProperties+xml"/>
  <Override PartName="/customXml/itemProps932.xml" ContentType="application/vnd.openxmlformats-officedocument.customXmlProperties+xml"/>
  <Override PartName="/customXml/itemProps933.xml" ContentType="application/vnd.openxmlformats-officedocument.customXmlProperties+xml"/>
  <Override PartName="/customXml/itemProps934.xml" ContentType="application/vnd.openxmlformats-officedocument.customXmlProperties+xml"/>
  <Override PartName="/customXml/itemProps935.xml" ContentType="application/vnd.openxmlformats-officedocument.customXmlProperties+xml"/>
  <Override PartName="/customXml/itemProps936.xml" ContentType="application/vnd.openxmlformats-officedocument.customXmlProperties+xml"/>
  <Override PartName="/customXml/itemProps937.xml" ContentType="application/vnd.openxmlformats-officedocument.customXmlProperties+xml"/>
  <Override PartName="/customXml/itemProps938.xml" ContentType="application/vnd.openxmlformats-officedocument.customXmlProperties+xml"/>
  <Override PartName="/customXml/itemProps939.xml" ContentType="application/vnd.openxmlformats-officedocument.customXmlProperties+xml"/>
  <Override PartName="/customXml/itemProps940.xml" ContentType="application/vnd.openxmlformats-officedocument.customXmlProperties+xml"/>
  <Override PartName="/customXml/itemProps941.xml" ContentType="application/vnd.openxmlformats-officedocument.customXmlProperties+xml"/>
  <Override PartName="/customXml/itemProps942.xml" ContentType="application/vnd.openxmlformats-officedocument.customXmlProperties+xml"/>
  <Override PartName="/customXml/itemProps943.xml" ContentType="application/vnd.openxmlformats-officedocument.customXmlProperties+xml"/>
  <Override PartName="/customXml/itemProps944.xml" ContentType="application/vnd.openxmlformats-officedocument.customXmlProperties+xml"/>
  <Override PartName="/customXml/itemProps945.xml" ContentType="application/vnd.openxmlformats-officedocument.customXmlProperties+xml"/>
  <Override PartName="/customXml/itemProps946.xml" ContentType="application/vnd.openxmlformats-officedocument.customXmlProperties+xml"/>
  <Override PartName="/customXml/itemProps947.xml" ContentType="application/vnd.openxmlformats-officedocument.customXmlProperties+xml"/>
  <Override PartName="/customXml/itemProps948.xml" ContentType="application/vnd.openxmlformats-officedocument.customXmlProperties+xml"/>
  <Override PartName="/customXml/itemProps949.xml" ContentType="application/vnd.openxmlformats-officedocument.customXmlProperties+xml"/>
  <Override PartName="/customXml/itemProps950.xml" ContentType="application/vnd.openxmlformats-officedocument.customXmlProperties+xml"/>
  <Override PartName="/customXml/itemProps951.xml" ContentType="application/vnd.openxmlformats-officedocument.customXmlProperties+xml"/>
  <Override PartName="/customXml/itemProps952.xml" ContentType="application/vnd.openxmlformats-officedocument.customXmlProperties+xml"/>
  <Override PartName="/customXml/itemProps953.xml" ContentType="application/vnd.openxmlformats-officedocument.customXmlProperties+xml"/>
  <Override PartName="/customXml/itemProps954.xml" ContentType="application/vnd.openxmlformats-officedocument.customXmlProperties+xml"/>
  <Override PartName="/customXml/itemProps955.xml" ContentType="application/vnd.openxmlformats-officedocument.customXmlProperties+xml"/>
  <Override PartName="/customXml/itemProps956.xml" ContentType="application/vnd.openxmlformats-officedocument.customXmlProperties+xml"/>
  <Override PartName="/customXml/itemProps957.xml" ContentType="application/vnd.openxmlformats-officedocument.customXmlProperties+xml"/>
  <Override PartName="/customXml/itemProps958.xml" ContentType="application/vnd.openxmlformats-officedocument.customXmlProperties+xml"/>
  <Override PartName="/customXml/itemProps959.xml" ContentType="application/vnd.openxmlformats-officedocument.customXmlProperties+xml"/>
  <Override PartName="/customXml/itemProps960.xml" ContentType="application/vnd.openxmlformats-officedocument.customXmlProperties+xml"/>
  <Override PartName="/customXml/itemProps961.xml" ContentType="application/vnd.openxmlformats-officedocument.customXmlProperties+xml"/>
  <Override PartName="/customXml/itemProps962.xml" ContentType="application/vnd.openxmlformats-officedocument.customXmlProperties+xml"/>
  <Override PartName="/customXml/itemProps963.xml" ContentType="application/vnd.openxmlformats-officedocument.customXmlProperties+xml"/>
  <Override PartName="/customXml/itemProps964.xml" ContentType="application/vnd.openxmlformats-officedocument.customXmlProperties+xml"/>
  <Override PartName="/customXml/itemProps965.xml" ContentType="application/vnd.openxmlformats-officedocument.customXmlProperties+xml"/>
  <Override PartName="/customXml/itemProps966.xml" ContentType="application/vnd.openxmlformats-officedocument.customXmlProperties+xml"/>
  <Override PartName="/customXml/itemProps967.xml" ContentType="application/vnd.openxmlformats-officedocument.customXmlProperties+xml"/>
  <Override PartName="/customXml/itemProps968.xml" ContentType="application/vnd.openxmlformats-officedocument.customXmlProperties+xml"/>
  <Override PartName="/customXml/itemProps969.xml" ContentType="application/vnd.openxmlformats-officedocument.customXmlProperties+xml"/>
  <Override PartName="/customXml/itemProps970.xml" ContentType="application/vnd.openxmlformats-officedocument.customXmlProperties+xml"/>
  <Override PartName="/customXml/itemProps971.xml" ContentType="application/vnd.openxmlformats-officedocument.customXmlProperties+xml"/>
  <Override PartName="/customXml/itemProps972.xml" ContentType="application/vnd.openxmlformats-officedocument.customXmlProperties+xml"/>
  <Override PartName="/customXml/itemProps973.xml" ContentType="application/vnd.openxmlformats-officedocument.customXmlProperties+xml"/>
  <Override PartName="/customXml/itemProps974.xml" ContentType="application/vnd.openxmlformats-officedocument.customXmlProperties+xml"/>
  <Override PartName="/customXml/itemProps975.xml" ContentType="application/vnd.openxmlformats-officedocument.customXmlProperties+xml"/>
  <Override PartName="/customXml/itemProps976.xml" ContentType="application/vnd.openxmlformats-officedocument.customXmlProperties+xml"/>
  <Override PartName="/customXml/itemProps977.xml" ContentType="application/vnd.openxmlformats-officedocument.customXmlProperties+xml"/>
  <Override PartName="/customXml/itemProps978.xml" ContentType="application/vnd.openxmlformats-officedocument.customXmlProperties+xml"/>
  <Override PartName="/customXml/itemProps979.xml" ContentType="application/vnd.openxmlformats-officedocument.customXmlProperties+xml"/>
  <Override PartName="/customXml/itemProps980.xml" ContentType="application/vnd.openxmlformats-officedocument.customXmlProperties+xml"/>
  <Override PartName="/customXml/itemProps981.xml" ContentType="application/vnd.openxmlformats-officedocument.customXmlProperties+xml"/>
  <Override PartName="/customXml/itemProps982.xml" ContentType="application/vnd.openxmlformats-officedocument.customXmlProperties+xml"/>
  <Override PartName="/customXml/itemProps983.xml" ContentType="application/vnd.openxmlformats-officedocument.customXmlProperties+xml"/>
  <Override PartName="/customXml/itemProps984.xml" ContentType="application/vnd.openxmlformats-officedocument.customXmlProperties+xml"/>
  <Override PartName="/customXml/itemProps985.xml" ContentType="application/vnd.openxmlformats-officedocument.customXmlProperties+xml"/>
  <Override PartName="/customXml/itemProps986.xml" ContentType="application/vnd.openxmlformats-officedocument.customXmlProperties+xml"/>
  <Override PartName="/customXml/itemProps987.xml" ContentType="application/vnd.openxmlformats-officedocument.customXmlProperties+xml"/>
  <Override PartName="/customXml/itemProps988.xml" ContentType="application/vnd.openxmlformats-officedocument.customXmlProperties+xml"/>
  <Override PartName="/customXml/itemProps989.xml" ContentType="application/vnd.openxmlformats-officedocument.customXmlProperties+xml"/>
  <Override PartName="/customXml/itemProps990.xml" ContentType="application/vnd.openxmlformats-officedocument.customXmlProperties+xml"/>
  <Override PartName="/customXml/itemProps991.xml" ContentType="application/vnd.openxmlformats-officedocument.customXmlProperties+xml"/>
  <Override PartName="/customXml/itemProps992.xml" ContentType="application/vnd.openxmlformats-officedocument.customXmlProperties+xml"/>
  <Override PartName="/customXml/itemProps993.xml" ContentType="application/vnd.openxmlformats-officedocument.customXmlProperties+xml"/>
  <Override PartName="/customXml/itemProps994.xml" ContentType="application/vnd.openxmlformats-officedocument.customXmlProperties+xml"/>
  <Override PartName="/customXml/itemProps995.xml" ContentType="application/vnd.openxmlformats-officedocument.customXmlProperties+xml"/>
  <Override PartName="/customXml/itemProps996.xml" ContentType="application/vnd.openxmlformats-officedocument.customXmlProperties+xml"/>
  <Override PartName="/customXml/itemProps997.xml" ContentType="application/vnd.openxmlformats-officedocument.customXmlProperties+xml"/>
  <Override PartName="/customXml/itemProps998.xml" ContentType="application/vnd.openxmlformats-officedocument.customXmlProperties+xml"/>
  <Override PartName="/customXml/itemProps999.xml" ContentType="application/vnd.openxmlformats-officedocument.customXmlProperties+xml"/>
  <Override PartName="/customXml/itemProps1000.xml" ContentType="application/vnd.openxmlformats-officedocument.customXmlProperties+xml"/>
  <Override PartName="/customXml/itemProps1001.xml" ContentType="application/vnd.openxmlformats-officedocument.customXmlProperties+xml"/>
  <Override PartName="/customXml/itemProps1002.xml" ContentType="application/vnd.openxmlformats-officedocument.customXmlProperties+xml"/>
  <Override PartName="/customXml/itemProps1003.xml" ContentType="application/vnd.openxmlformats-officedocument.customXmlProperties+xml"/>
  <Override PartName="/customXml/itemProps1004.xml" ContentType="application/vnd.openxmlformats-officedocument.customXmlProperties+xml"/>
  <Override PartName="/customXml/itemProps1005.xml" ContentType="application/vnd.openxmlformats-officedocument.customXmlProperties+xml"/>
  <Override PartName="/customXml/itemProps1006.xml" ContentType="application/vnd.openxmlformats-officedocument.customXmlProperties+xml"/>
  <Override PartName="/customXml/itemProps1007.xml" ContentType="application/vnd.openxmlformats-officedocument.customXmlProperties+xml"/>
  <Override PartName="/customXml/itemProps1008.xml" ContentType="application/vnd.openxmlformats-officedocument.customXmlProperties+xml"/>
  <Override PartName="/customXml/itemProps1009.xml" ContentType="application/vnd.openxmlformats-officedocument.customXmlProperties+xml"/>
  <Override PartName="/customXml/itemProps1010.xml" ContentType="application/vnd.openxmlformats-officedocument.customXmlProperties+xml"/>
  <Override PartName="/customXml/itemProps1011.xml" ContentType="application/vnd.openxmlformats-officedocument.customXmlProperties+xml"/>
  <Override PartName="/customXml/itemProps1012.xml" ContentType="application/vnd.openxmlformats-officedocument.customXmlProperties+xml"/>
  <Override PartName="/customXml/itemProps1013.xml" ContentType="application/vnd.openxmlformats-officedocument.customXmlProperties+xml"/>
  <Override PartName="/customXml/itemProps1014.xml" ContentType="application/vnd.openxmlformats-officedocument.customXmlProperties+xml"/>
  <Override PartName="/customXml/itemProps1015.xml" ContentType="application/vnd.openxmlformats-officedocument.customXmlProperties+xml"/>
  <Override PartName="/customXml/itemProps1016.xml" ContentType="application/vnd.openxmlformats-officedocument.customXmlProperties+xml"/>
  <Override PartName="/customXml/itemProps1017.xml" ContentType="application/vnd.openxmlformats-officedocument.customXmlProperties+xml"/>
  <Override PartName="/customXml/itemProps1018.xml" ContentType="application/vnd.openxmlformats-officedocument.customXmlProperties+xml"/>
  <Override PartName="/customXml/itemProps1019.xml" ContentType="application/vnd.openxmlformats-officedocument.customXmlProperties+xml"/>
  <Override PartName="/customXml/itemProps1020.xml" ContentType="application/vnd.openxmlformats-officedocument.customXmlProperties+xml"/>
  <Override PartName="/customXml/itemProps1021.xml" ContentType="application/vnd.openxmlformats-officedocument.customXmlProperties+xml"/>
  <Override PartName="/customXml/itemProps1022.xml" ContentType="application/vnd.openxmlformats-officedocument.customXmlProperties+xml"/>
  <Override PartName="/customXml/itemProps1023.xml" ContentType="application/vnd.openxmlformats-officedocument.customXmlProperties+xml"/>
  <Override PartName="/customXml/itemProps1024.xml" ContentType="application/vnd.openxmlformats-officedocument.customXmlProperties+xml"/>
  <Override PartName="/customXml/itemProps1025.xml" ContentType="application/vnd.openxmlformats-officedocument.customXmlProperties+xml"/>
  <Override PartName="/customXml/itemProps1026.xml" ContentType="application/vnd.openxmlformats-officedocument.customXmlProperties+xml"/>
  <Override PartName="/customXml/itemProps1027.xml" ContentType="application/vnd.openxmlformats-officedocument.customXmlProperties+xml"/>
  <Override PartName="/customXml/itemProps1028.xml" ContentType="application/vnd.openxmlformats-officedocument.customXmlProperties+xml"/>
  <Override PartName="/customXml/itemProps1029.xml" ContentType="application/vnd.openxmlformats-officedocument.customXmlProperties+xml"/>
  <Override PartName="/customXml/itemProps1030.xml" ContentType="application/vnd.openxmlformats-officedocument.customXmlProperties+xml"/>
  <Override PartName="/customXml/itemProps1031.xml" ContentType="application/vnd.openxmlformats-officedocument.customXmlProperties+xml"/>
  <Override PartName="/customXml/itemProps1032.xml" ContentType="application/vnd.openxmlformats-officedocument.customXmlProperties+xml"/>
  <Override PartName="/customXml/itemProps1033.xml" ContentType="application/vnd.openxmlformats-officedocument.customXmlProperties+xml"/>
  <Override PartName="/customXml/itemProps1034.xml" ContentType="application/vnd.openxmlformats-officedocument.customXmlProperties+xml"/>
  <Override PartName="/customXml/itemProps1035.xml" ContentType="application/vnd.openxmlformats-officedocument.customXmlProperties+xml"/>
  <Override PartName="/customXml/itemProps1036.xml" ContentType="application/vnd.openxmlformats-officedocument.customXmlProperties+xml"/>
  <Override PartName="/customXml/itemProps1037.xml" ContentType="application/vnd.openxmlformats-officedocument.customXmlProperties+xml"/>
  <Override PartName="/customXml/itemProps1038.xml" ContentType="application/vnd.openxmlformats-officedocument.customXmlProperties+xml"/>
  <Override PartName="/customXml/itemProps1039.xml" ContentType="application/vnd.openxmlformats-officedocument.customXmlProperties+xml"/>
  <Override PartName="/customXml/itemProps1040.xml" ContentType="application/vnd.openxmlformats-officedocument.customXmlProperties+xml"/>
  <Override PartName="/customXml/itemProps1041.xml" ContentType="application/vnd.openxmlformats-officedocument.customXmlProperties+xml"/>
  <Override PartName="/customXml/itemProps1042.xml" ContentType="application/vnd.openxmlformats-officedocument.customXmlProperties+xml"/>
  <Override PartName="/customXml/itemProps1043.xml" ContentType="application/vnd.openxmlformats-officedocument.customXmlProperties+xml"/>
  <Override PartName="/customXml/itemProps1044.xml" ContentType="application/vnd.openxmlformats-officedocument.customXmlProperties+xml"/>
  <Override PartName="/customXml/itemProps1045.xml" ContentType="application/vnd.openxmlformats-officedocument.customXmlProperties+xml"/>
  <Override PartName="/customXml/itemProps1046.xml" ContentType="application/vnd.openxmlformats-officedocument.customXmlProperties+xml"/>
  <Override PartName="/customXml/itemProps1047.xml" ContentType="application/vnd.openxmlformats-officedocument.customXmlProperties+xml"/>
  <Override PartName="/customXml/itemProps1048.xml" ContentType="application/vnd.openxmlformats-officedocument.customXmlProperties+xml"/>
  <Override PartName="/customXml/itemProps1049.xml" ContentType="application/vnd.openxmlformats-officedocument.customXmlProperties+xml"/>
  <Override PartName="/customXml/itemProps1050.xml" ContentType="application/vnd.openxmlformats-officedocument.customXmlProperties+xml"/>
  <Override PartName="/customXml/itemProps1051.xml" ContentType="application/vnd.openxmlformats-officedocument.customXmlProperties+xml"/>
  <Override PartName="/customXml/itemProps1052.xml" ContentType="application/vnd.openxmlformats-officedocument.customXmlProperties+xml"/>
  <Override PartName="/customXml/itemProps1053.xml" ContentType="application/vnd.openxmlformats-officedocument.customXmlProperties+xml"/>
  <Override PartName="/customXml/itemProps1054.xml" ContentType="application/vnd.openxmlformats-officedocument.customXmlProperties+xml"/>
  <Override PartName="/customXml/itemProps1055.xml" ContentType="application/vnd.openxmlformats-officedocument.customXmlProperties+xml"/>
  <Override PartName="/customXml/itemProps1056.xml" ContentType="application/vnd.openxmlformats-officedocument.customXmlProperties+xml"/>
  <Override PartName="/customXml/itemProps1057.xml" ContentType="application/vnd.openxmlformats-officedocument.customXmlProperties+xml"/>
  <Override PartName="/customXml/itemProps1058.xml" ContentType="application/vnd.openxmlformats-officedocument.customXmlProperties+xml"/>
  <Override PartName="/customXml/itemProps1059.xml" ContentType="application/vnd.openxmlformats-officedocument.customXmlProperties+xml"/>
  <Override PartName="/customXml/itemProps1060.xml" ContentType="application/vnd.openxmlformats-officedocument.customXmlProperties+xml"/>
  <Override PartName="/customXml/itemProps1061.xml" ContentType="application/vnd.openxmlformats-officedocument.customXmlProperties+xml"/>
  <Override PartName="/customXml/itemProps1062.xml" ContentType="application/vnd.openxmlformats-officedocument.customXmlProperties+xml"/>
  <Override PartName="/customXml/itemProps1063.xml" ContentType="application/vnd.openxmlformats-officedocument.customXmlProperties+xml"/>
  <Override PartName="/customXml/itemProps1064.xml" ContentType="application/vnd.openxmlformats-officedocument.customXmlProperties+xml"/>
  <Override PartName="/customXml/itemProps1065.xml" ContentType="application/vnd.openxmlformats-officedocument.customXmlProperties+xml"/>
  <Override PartName="/customXml/itemProps1066.xml" ContentType="application/vnd.openxmlformats-officedocument.customXmlProperties+xml"/>
  <Override PartName="/customXml/itemProps1067.xml" ContentType="application/vnd.openxmlformats-officedocument.customXmlProperties+xml"/>
  <Override PartName="/customXml/itemProps1068.xml" ContentType="application/vnd.openxmlformats-officedocument.customXmlProperties+xml"/>
  <Override PartName="/customXml/itemProps1069.xml" ContentType="application/vnd.openxmlformats-officedocument.customXmlProperties+xml"/>
  <Override PartName="/customXml/itemProps1070.xml" ContentType="application/vnd.openxmlformats-officedocument.customXmlProperties+xml"/>
  <Override PartName="/customXml/itemProps1071.xml" ContentType="application/vnd.openxmlformats-officedocument.customXmlProperties+xml"/>
  <Override PartName="/customXml/itemProps1072.xml" ContentType="application/vnd.openxmlformats-officedocument.customXmlProperties+xml"/>
  <Override PartName="/customXml/itemProps1073.xml" ContentType="application/vnd.openxmlformats-officedocument.customXmlProperties+xml"/>
  <Override PartName="/customXml/itemProps1074.xml" ContentType="application/vnd.openxmlformats-officedocument.customXmlProperties+xml"/>
  <Override PartName="/customXml/itemProps1075.xml" ContentType="application/vnd.openxmlformats-officedocument.customXmlProperties+xml"/>
  <Override PartName="/customXml/itemProps1076.xml" ContentType="application/vnd.openxmlformats-officedocument.customXmlProperties+xml"/>
  <Override PartName="/customXml/itemProps1077.xml" ContentType="application/vnd.openxmlformats-officedocument.customXmlProperties+xml"/>
  <Override PartName="/customXml/itemProps1078.xml" ContentType="application/vnd.openxmlformats-officedocument.customXmlProperties+xml"/>
  <Override PartName="/customXml/itemProps1079.xml" ContentType="application/vnd.openxmlformats-officedocument.customXmlProperties+xml"/>
  <Override PartName="/customXml/itemProps1080.xml" ContentType="application/vnd.openxmlformats-officedocument.customXmlProperties+xml"/>
  <Override PartName="/customXml/itemProps1081.xml" ContentType="application/vnd.openxmlformats-officedocument.customXmlProperties+xml"/>
  <Override PartName="/customXml/itemProps1082.xml" ContentType="application/vnd.openxmlformats-officedocument.customXmlProperties+xml"/>
  <Override PartName="/customXml/itemProps1083.xml" ContentType="application/vnd.openxmlformats-officedocument.customXmlProperties+xml"/>
  <Override PartName="/customXml/itemProps1084.xml" ContentType="application/vnd.openxmlformats-officedocument.customXmlProperties+xml"/>
  <Override PartName="/customXml/itemProps1085.xml" ContentType="application/vnd.openxmlformats-officedocument.customXmlProperties+xml"/>
  <Override PartName="/customXml/itemProps1086.xml" ContentType="application/vnd.openxmlformats-officedocument.customXmlProperties+xml"/>
  <Override PartName="/customXml/itemProps1087.xml" ContentType="application/vnd.openxmlformats-officedocument.customXmlProperties+xml"/>
  <Override PartName="/customXml/itemProps1088.xml" ContentType="application/vnd.openxmlformats-officedocument.customXmlProperties+xml"/>
  <Override PartName="/customXml/itemProps1089.xml" ContentType="application/vnd.openxmlformats-officedocument.customXmlProperties+xml"/>
  <Override PartName="/customXml/itemProps1090.xml" ContentType="application/vnd.openxmlformats-officedocument.customXmlProperties+xml"/>
  <Override PartName="/customXml/itemProps1091.xml" ContentType="application/vnd.openxmlformats-officedocument.customXmlProperties+xml"/>
  <Override PartName="/customXml/itemProps1092.xml" ContentType="application/vnd.openxmlformats-officedocument.customXmlProperties+xml"/>
  <Override PartName="/customXml/itemProps1093.xml" ContentType="application/vnd.openxmlformats-officedocument.customXmlProperties+xml"/>
  <Override PartName="/customXml/itemProps1094.xml" ContentType="application/vnd.openxmlformats-officedocument.customXmlProperties+xml"/>
  <Override PartName="/customXml/itemProps1095.xml" ContentType="application/vnd.openxmlformats-officedocument.customXmlProperties+xml"/>
  <Override PartName="/customXml/itemProps1096.xml" ContentType="application/vnd.openxmlformats-officedocument.customXmlProperties+xml"/>
  <Override PartName="/customXml/itemProps1097.xml" ContentType="application/vnd.openxmlformats-officedocument.customXmlProperties+xml"/>
  <Override PartName="/customXml/itemProps1098.xml" ContentType="application/vnd.openxmlformats-officedocument.customXmlProperties+xml"/>
  <Override PartName="/customXml/itemProps1099.xml" ContentType="application/vnd.openxmlformats-officedocument.customXmlProperties+xml"/>
  <Override PartName="/customXml/itemProps1100.xml" ContentType="application/vnd.openxmlformats-officedocument.customXmlProperties+xml"/>
  <Override PartName="/customXml/itemProps1101.xml" ContentType="application/vnd.openxmlformats-officedocument.customXmlProperties+xml"/>
  <Override PartName="/customXml/itemProps1102.xml" ContentType="application/vnd.openxmlformats-officedocument.customXmlProperties+xml"/>
  <Override PartName="/customXml/itemProps1103.xml" ContentType="application/vnd.openxmlformats-officedocument.customXmlProperties+xml"/>
  <Override PartName="/customXml/itemProps1104.xml" ContentType="application/vnd.openxmlformats-officedocument.customXmlProperties+xml"/>
  <Override PartName="/customXml/itemProps1105.xml" ContentType="application/vnd.openxmlformats-officedocument.customXmlProperties+xml"/>
  <Override PartName="/customXml/itemProps1106.xml" ContentType="application/vnd.openxmlformats-officedocument.customXmlProperties+xml"/>
  <Override PartName="/customXml/itemProps1107.xml" ContentType="application/vnd.openxmlformats-officedocument.customXmlProperties+xml"/>
  <Override PartName="/customXml/itemProps1108.xml" ContentType="application/vnd.openxmlformats-officedocument.customXmlProperties+xml"/>
  <Override PartName="/customXml/itemProps1109.xml" ContentType="application/vnd.openxmlformats-officedocument.customXmlProperties+xml"/>
  <Override PartName="/customXml/itemProps1110.xml" ContentType="application/vnd.openxmlformats-officedocument.customXmlProperties+xml"/>
  <Override PartName="/customXml/itemProps1111.xml" ContentType="application/vnd.openxmlformats-officedocument.customXmlProperties+xml"/>
  <Override PartName="/customXml/itemProps1112.xml" ContentType="application/vnd.openxmlformats-officedocument.customXmlProperties+xml"/>
  <Override PartName="/customXml/itemProps1113.xml" ContentType="application/vnd.openxmlformats-officedocument.customXmlProperties+xml"/>
  <Override PartName="/customXml/itemProps1114.xml" ContentType="application/vnd.openxmlformats-officedocument.customXmlProperties+xml"/>
  <Override PartName="/customXml/itemProps1115.xml" ContentType="application/vnd.openxmlformats-officedocument.customXmlProperties+xml"/>
  <Override PartName="/customXml/itemProps1116.xml" ContentType="application/vnd.openxmlformats-officedocument.customXmlProperties+xml"/>
  <Override PartName="/customXml/itemProps1117.xml" ContentType="application/vnd.openxmlformats-officedocument.customXmlProperties+xml"/>
  <Override PartName="/customXml/itemProps1118.xml" ContentType="application/vnd.openxmlformats-officedocument.customXmlProperties+xml"/>
  <Override PartName="/customXml/itemProps1119.xml" ContentType="application/vnd.openxmlformats-officedocument.customXmlProperties+xml"/>
  <Override PartName="/customXml/itemProps1120.xml" ContentType="application/vnd.openxmlformats-officedocument.customXmlProperties+xml"/>
  <Override PartName="/customXml/itemProps1121.xml" ContentType="application/vnd.openxmlformats-officedocument.customXmlProperties+xml"/>
  <Override PartName="/customXml/itemProps1122.xml" ContentType="application/vnd.openxmlformats-officedocument.customXmlProperties+xml"/>
  <Override PartName="/customXml/itemProps1123.xml" ContentType="application/vnd.openxmlformats-officedocument.customXmlProperties+xml"/>
  <Override PartName="/customXml/itemProps1124.xml" ContentType="application/vnd.openxmlformats-officedocument.customXmlProperties+xml"/>
  <Override PartName="/customXml/itemProps1125.xml" ContentType="application/vnd.openxmlformats-officedocument.customXmlProperties+xml"/>
  <Override PartName="/customXml/itemProps1126.xml" ContentType="application/vnd.openxmlformats-officedocument.customXmlProperties+xml"/>
  <Override PartName="/customXml/itemProps1127.xml" ContentType="application/vnd.openxmlformats-officedocument.customXmlProperties+xml"/>
  <Override PartName="/customXml/itemProps1128.xml" ContentType="application/vnd.openxmlformats-officedocument.customXmlProperties+xml"/>
  <Override PartName="/customXml/itemProps1129.xml" ContentType="application/vnd.openxmlformats-officedocument.customXmlProperties+xml"/>
  <Override PartName="/customXml/itemProps1130.xml" ContentType="application/vnd.openxmlformats-officedocument.customXmlProperties+xml"/>
  <Override PartName="/customXml/itemProps1131.xml" ContentType="application/vnd.openxmlformats-officedocument.customXmlProperties+xml"/>
  <Override PartName="/customXml/itemProps1132.xml" ContentType="application/vnd.openxmlformats-officedocument.customXmlProperties+xml"/>
  <Override PartName="/customXml/itemProps1133.xml" ContentType="application/vnd.openxmlformats-officedocument.customXmlProperties+xml"/>
  <Override PartName="/customXml/itemProps1134.xml" ContentType="application/vnd.openxmlformats-officedocument.customXmlProperties+xml"/>
  <Override PartName="/customXml/itemProps1135.xml" ContentType="application/vnd.openxmlformats-officedocument.customXmlProperties+xml"/>
  <Override PartName="/customXml/itemProps1136.xml" ContentType="application/vnd.openxmlformats-officedocument.customXmlProperties+xml"/>
  <Override PartName="/customXml/itemProps1137.xml" ContentType="application/vnd.openxmlformats-officedocument.customXmlProperties+xml"/>
  <Override PartName="/customXml/itemProps1138.xml" ContentType="application/vnd.openxmlformats-officedocument.customXmlProperties+xml"/>
  <Override PartName="/customXml/itemProps1139.xml" ContentType="application/vnd.openxmlformats-officedocument.customXmlProperties+xml"/>
  <Override PartName="/customXml/itemProps1140.xml" ContentType="application/vnd.openxmlformats-officedocument.customXmlProperties+xml"/>
  <Override PartName="/customXml/itemProps1141.xml" ContentType="application/vnd.openxmlformats-officedocument.customXmlProperties+xml"/>
  <Override PartName="/customXml/itemProps1142.xml" ContentType="application/vnd.openxmlformats-officedocument.customXmlProperties+xml"/>
  <Override PartName="/customXml/itemProps1143.xml" ContentType="application/vnd.openxmlformats-officedocument.customXmlProperties+xml"/>
  <Override PartName="/customXml/itemProps1144.xml" ContentType="application/vnd.openxmlformats-officedocument.customXmlProperties+xml"/>
  <Override PartName="/customXml/itemProps1145.xml" ContentType="application/vnd.openxmlformats-officedocument.customXmlProperties+xml"/>
  <Override PartName="/customXml/itemProps1146.xml" ContentType="application/vnd.openxmlformats-officedocument.customXmlProperties+xml"/>
  <Override PartName="/customXml/itemProps1147.xml" ContentType="application/vnd.openxmlformats-officedocument.customXmlProperties+xml"/>
  <Override PartName="/customXml/itemProps1148.xml" ContentType="application/vnd.openxmlformats-officedocument.customXmlProperties+xml"/>
  <Override PartName="/customXml/itemProps1149.xml" ContentType="application/vnd.openxmlformats-officedocument.customXmlProperties+xml"/>
  <Override PartName="/customXml/itemProps1150.xml" ContentType="application/vnd.openxmlformats-officedocument.customXmlProperties+xml"/>
  <Override PartName="/customXml/itemProps1151.xml" ContentType="application/vnd.openxmlformats-officedocument.customXmlProperties+xml"/>
  <Override PartName="/customXml/itemProps1152.xml" ContentType="application/vnd.openxmlformats-officedocument.customXmlProperties+xml"/>
  <Override PartName="/customXml/itemProps1153.xml" ContentType="application/vnd.openxmlformats-officedocument.customXmlProperties+xml"/>
  <Override PartName="/customXml/itemProps1154.xml" ContentType="application/vnd.openxmlformats-officedocument.customXmlProperties+xml"/>
  <Override PartName="/customXml/itemProps1155.xml" ContentType="application/vnd.openxmlformats-officedocument.customXmlProperties+xml"/>
  <Override PartName="/customXml/itemProps1156.xml" ContentType="application/vnd.openxmlformats-officedocument.customXmlProperties+xml"/>
  <Override PartName="/customXml/itemProps1157.xml" ContentType="application/vnd.openxmlformats-officedocument.customXmlProperties+xml"/>
  <Override PartName="/customXml/itemProps1158.xml" ContentType="application/vnd.openxmlformats-officedocument.customXmlProperties+xml"/>
  <Override PartName="/customXml/itemProps1159.xml" ContentType="application/vnd.openxmlformats-officedocument.customXmlProperties+xml"/>
  <Override PartName="/customXml/itemProps1160.xml" ContentType="application/vnd.openxmlformats-officedocument.customXmlProperties+xml"/>
  <Override PartName="/customXml/itemProps1161.xml" ContentType="application/vnd.openxmlformats-officedocument.customXmlProperties+xml"/>
  <Override PartName="/customXml/itemProps1162.xml" ContentType="application/vnd.openxmlformats-officedocument.customXmlProperties+xml"/>
  <Override PartName="/customXml/itemProps1163.xml" ContentType="application/vnd.openxmlformats-officedocument.customXmlProperties+xml"/>
  <Override PartName="/customXml/itemProps1164.xml" ContentType="application/vnd.openxmlformats-officedocument.customXmlProperties+xml"/>
  <Override PartName="/customXml/itemProps1165.xml" ContentType="application/vnd.openxmlformats-officedocument.customXmlProperties+xml"/>
  <Override PartName="/customXml/itemProps1166.xml" ContentType="application/vnd.openxmlformats-officedocument.customXmlProperties+xml"/>
  <Override PartName="/customXml/itemProps1167.xml" ContentType="application/vnd.openxmlformats-officedocument.customXmlProperties+xml"/>
  <Override PartName="/customXml/itemProps1168.xml" ContentType="application/vnd.openxmlformats-officedocument.customXmlProperties+xml"/>
  <Override PartName="/customXml/itemProps1169.xml" ContentType="application/vnd.openxmlformats-officedocument.customXmlProperties+xml"/>
  <Override PartName="/customXml/itemProps1170.xml" ContentType="application/vnd.openxmlformats-officedocument.customXmlProperties+xml"/>
  <Override PartName="/customXml/itemProps1171.xml" ContentType="application/vnd.openxmlformats-officedocument.customXmlProperties+xml"/>
  <Override PartName="/customXml/itemProps1172.xml" ContentType="application/vnd.openxmlformats-officedocument.customXmlProperties+xml"/>
  <Override PartName="/customXml/itemProps1173.xml" ContentType="application/vnd.openxmlformats-officedocument.customXmlProperties+xml"/>
  <Override PartName="/customXml/itemProps1174.xml" ContentType="application/vnd.openxmlformats-officedocument.customXmlProperties+xml"/>
  <Override PartName="/customXml/itemProps1175.xml" ContentType="application/vnd.openxmlformats-officedocument.customXmlProperties+xml"/>
  <Override PartName="/customXml/itemProps1176.xml" ContentType="application/vnd.openxmlformats-officedocument.customXmlProperties+xml"/>
  <Override PartName="/customXml/itemProps1177.xml" ContentType="application/vnd.openxmlformats-officedocument.customXmlProperties+xml"/>
  <Override PartName="/customXml/itemProps1178.xml" ContentType="application/vnd.openxmlformats-officedocument.customXmlProperties+xml"/>
  <Override PartName="/customXml/itemProps1179.xml" ContentType="application/vnd.openxmlformats-officedocument.customXmlProperties+xml"/>
  <Override PartName="/customXml/itemProps1180.xml" ContentType="application/vnd.openxmlformats-officedocument.customXmlProperties+xml"/>
  <Override PartName="/customXml/itemProps1181.xml" ContentType="application/vnd.openxmlformats-officedocument.customXmlProperties+xml"/>
  <Override PartName="/customXml/itemProps1182.xml" ContentType="application/vnd.openxmlformats-officedocument.customXmlProperties+xml"/>
  <Override PartName="/customXml/itemProps1183.xml" ContentType="application/vnd.openxmlformats-officedocument.customXmlProperties+xml"/>
  <Override PartName="/customXml/itemProps1184.xml" ContentType="application/vnd.openxmlformats-officedocument.customXmlProperties+xml"/>
  <Override PartName="/customXml/itemProps1185.xml" ContentType="application/vnd.openxmlformats-officedocument.customXmlProperties+xml"/>
  <Override PartName="/customXml/itemProps1186.xml" ContentType="application/vnd.openxmlformats-officedocument.customXmlProperties+xml"/>
  <Override PartName="/customXml/itemProps1187.xml" ContentType="application/vnd.openxmlformats-officedocument.customXmlProperties+xml"/>
  <Override PartName="/customXml/itemProps1188.xml" ContentType="application/vnd.openxmlformats-officedocument.customXmlProperties+xml"/>
  <Override PartName="/customXml/itemProps1189.xml" ContentType="application/vnd.openxmlformats-officedocument.customXmlProperties+xml"/>
  <Override PartName="/customXml/itemProps1190.xml" ContentType="application/vnd.openxmlformats-officedocument.customXmlProperties+xml"/>
  <Override PartName="/customXml/itemProps1191.xml" ContentType="application/vnd.openxmlformats-officedocument.customXmlProperties+xml"/>
  <Override PartName="/customXml/itemProps1192.xml" ContentType="application/vnd.openxmlformats-officedocument.customXmlProperties+xml"/>
  <Override PartName="/customXml/itemProps1193.xml" ContentType="application/vnd.openxmlformats-officedocument.customXmlProperties+xml"/>
  <Override PartName="/customXml/itemProps1194.xml" ContentType="application/vnd.openxmlformats-officedocument.customXmlProperties+xml"/>
  <Override PartName="/customXml/itemProps1195.xml" ContentType="application/vnd.openxmlformats-officedocument.customXmlProperties+xml"/>
  <Override PartName="/customXml/itemProps1196.xml" ContentType="application/vnd.openxmlformats-officedocument.customXmlProperties+xml"/>
  <Override PartName="/customXml/itemProps1197.xml" ContentType="application/vnd.openxmlformats-officedocument.customXmlProperties+xml"/>
  <Override PartName="/customXml/itemProps1198.xml" ContentType="application/vnd.openxmlformats-officedocument.customXmlProperties+xml"/>
  <Override PartName="/customXml/itemProps1199.xml" ContentType="application/vnd.openxmlformats-officedocument.customXmlProperties+xml"/>
  <Override PartName="/customXml/itemProps1200.xml" ContentType="application/vnd.openxmlformats-officedocument.customXmlProperties+xml"/>
  <Override PartName="/customXml/itemProps1201.xml" ContentType="application/vnd.openxmlformats-officedocument.customXmlProperties+xml"/>
  <Override PartName="/customXml/itemProps1202.xml" ContentType="application/vnd.openxmlformats-officedocument.customXmlProperties+xml"/>
  <Override PartName="/customXml/itemProps1203.xml" ContentType="application/vnd.openxmlformats-officedocument.customXmlProperties+xml"/>
  <Override PartName="/customXml/itemProps1204.xml" ContentType="application/vnd.openxmlformats-officedocument.customXmlProperties+xml"/>
  <Override PartName="/customXml/itemProps1205.xml" ContentType="application/vnd.openxmlformats-officedocument.customXmlProperties+xml"/>
  <Override PartName="/customXml/itemProps1206.xml" ContentType="application/vnd.openxmlformats-officedocument.customXmlProperties+xml"/>
  <Override PartName="/customXml/itemProps1207.xml" ContentType="application/vnd.openxmlformats-officedocument.customXmlProperties+xml"/>
  <Override PartName="/customXml/itemProps1208.xml" ContentType="application/vnd.openxmlformats-officedocument.customXmlProperties+xml"/>
  <Override PartName="/customXml/itemProps1209.xml" ContentType="application/vnd.openxmlformats-officedocument.customXmlProperties+xml"/>
  <Override PartName="/customXml/itemProps1210.xml" ContentType="application/vnd.openxmlformats-officedocument.customXmlProperties+xml"/>
  <Override PartName="/customXml/itemProps121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212"/>
    <p:sldMasterId id="2147483678" r:id="rId1213"/>
    <p:sldMasterId id="2147483715" r:id="rId1214"/>
    <p:sldMasterId id="2147483716" r:id="rId1215"/>
    <p:sldMasterId id="2147483734" r:id="rId1216"/>
  </p:sldMasterIdLst>
  <p:notesMasterIdLst>
    <p:notesMasterId r:id="rId1227"/>
  </p:notesMasterIdLst>
  <p:sldIdLst>
    <p:sldId id="2147375786" r:id="rId1217"/>
    <p:sldId id="2147474804" r:id="rId1218"/>
    <p:sldId id="2147474802" r:id="rId1219"/>
    <p:sldId id="2147474801" r:id="rId1220"/>
    <p:sldId id="2147474803" r:id="rId1221"/>
    <p:sldId id="2147474754" r:id="rId1222"/>
    <p:sldId id="2147474752" r:id="rId1223"/>
    <p:sldId id="2147474193" r:id="rId1224"/>
    <p:sldId id="258" r:id="rId1225"/>
    <p:sldId id="2147474180" r:id="rId1226"/>
  </p:sldIdLst>
  <p:sldSz cx="12192000" cy="6858000"/>
  <p:notesSz cx="7010400" cy="9296400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14E3A"/>
    <a:srgbClr val="97673F"/>
    <a:srgbClr val="48ABFF"/>
    <a:srgbClr val="FAAB35"/>
    <a:srgbClr val="8DD540"/>
    <a:srgbClr val="FFC000"/>
    <a:srgbClr val="A2D45E"/>
    <a:srgbClr val="9F66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4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547" y="91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1" Type="http://schemas.openxmlformats.org/officeDocument/2006/relationships/customXml" Target="../customXml/item21.xml"/><Relationship Id="rId170" Type="http://schemas.openxmlformats.org/officeDocument/2006/relationships/customXml" Target="../customXml/item170.xml"/><Relationship Id="rId268" Type="http://schemas.openxmlformats.org/officeDocument/2006/relationships/customXml" Target="../customXml/item268.xml"/><Relationship Id="rId475" Type="http://schemas.openxmlformats.org/officeDocument/2006/relationships/customXml" Target="../customXml/item475.xml"/><Relationship Id="rId682" Type="http://schemas.openxmlformats.org/officeDocument/2006/relationships/customXml" Target="../customXml/item682.xml"/><Relationship Id="rId128" Type="http://schemas.openxmlformats.org/officeDocument/2006/relationships/customXml" Target="../customXml/item128.xml"/><Relationship Id="rId335" Type="http://schemas.openxmlformats.org/officeDocument/2006/relationships/customXml" Target="../customXml/item335.xml"/><Relationship Id="rId542" Type="http://schemas.openxmlformats.org/officeDocument/2006/relationships/customXml" Target="../customXml/item542.xml"/><Relationship Id="rId987" Type="http://schemas.openxmlformats.org/officeDocument/2006/relationships/customXml" Target="../customXml/item987.xml"/><Relationship Id="rId1172" Type="http://schemas.openxmlformats.org/officeDocument/2006/relationships/customXml" Target="../customXml/item1172.xml"/><Relationship Id="rId402" Type="http://schemas.openxmlformats.org/officeDocument/2006/relationships/customXml" Target="../customXml/item402.xml"/><Relationship Id="rId1032" Type="http://schemas.openxmlformats.org/officeDocument/2006/relationships/customXml" Target="../customXml/item1032.xml"/><Relationship Id="rId707" Type="http://schemas.openxmlformats.org/officeDocument/2006/relationships/customXml" Target="../customXml/item707.xml"/><Relationship Id="rId914" Type="http://schemas.openxmlformats.org/officeDocument/2006/relationships/customXml" Target="../customXml/item914.xml"/><Relationship Id="rId43" Type="http://schemas.openxmlformats.org/officeDocument/2006/relationships/customXml" Target="../customXml/item43.xml"/><Relationship Id="rId192" Type="http://schemas.openxmlformats.org/officeDocument/2006/relationships/customXml" Target="../customXml/item192.xml"/><Relationship Id="rId497" Type="http://schemas.openxmlformats.org/officeDocument/2006/relationships/customXml" Target="../customXml/item497.xml"/><Relationship Id="rId357" Type="http://schemas.openxmlformats.org/officeDocument/2006/relationships/customXml" Target="../customXml/item357.xml"/><Relationship Id="rId1194" Type="http://schemas.openxmlformats.org/officeDocument/2006/relationships/customXml" Target="../customXml/item1194.xml"/><Relationship Id="rId217" Type="http://schemas.openxmlformats.org/officeDocument/2006/relationships/customXml" Target="../customXml/item217.xml"/><Relationship Id="rId564" Type="http://schemas.openxmlformats.org/officeDocument/2006/relationships/customXml" Target="../customXml/item564.xml"/><Relationship Id="rId771" Type="http://schemas.openxmlformats.org/officeDocument/2006/relationships/customXml" Target="../customXml/item771.xml"/><Relationship Id="rId869" Type="http://schemas.openxmlformats.org/officeDocument/2006/relationships/customXml" Target="../customXml/item869.xml"/><Relationship Id="rId424" Type="http://schemas.openxmlformats.org/officeDocument/2006/relationships/customXml" Target="../customXml/item424.xml"/><Relationship Id="rId631" Type="http://schemas.openxmlformats.org/officeDocument/2006/relationships/customXml" Target="../customXml/item631.xml"/><Relationship Id="rId729" Type="http://schemas.openxmlformats.org/officeDocument/2006/relationships/customXml" Target="../customXml/item729.xml"/><Relationship Id="rId1054" Type="http://schemas.openxmlformats.org/officeDocument/2006/relationships/customXml" Target="../customXml/item1054.xml"/><Relationship Id="rId936" Type="http://schemas.openxmlformats.org/officeDocument/2006/relationships/customXml" Target="../customXml/item936.xml"/><Relationship Id="rId1121" Type="http://schemas.openxmlformats.org/officeDocument/2006/relationships/customXml" Target="../customXml/item1121.xml"/><Relationship Id="rId1219" Type="http://schemas.openxmlformats.org/officeDocument/2006/relationships/slide" Target="slides/slide3.xml"/><Relationship Id="rId65" Type="http://schemas.openxmlformats.org/officeDocument/2006/relationships/customXml" Target="../customXml/item65.xml"/><Relationship Id="rId281" Type="http://schemas.openxmlformats.org/officeDocument/2006/relationships/customXml" Target="../customXml/item281.xml"/><Relationship Id="rId141" Type="http://schemas.openxmlformats.org/officeDocument/2006/relationships/customXml" Target="../customXml/item141.xml"/><Relationship Id="rId379" Type="http://schemas.openxmlformats.org/officeDocument/2006/relationships/customXml" Target="../customXml/item379.xml"/><Relationship Id="rId586" Type="http://schemas.openxmlformats.org/officeDocument/2006/relationships/customXml" Target="../customXml/item586.xml"/><Relationship Id="rId793" Type="http://schemas.openxmlformats.org/officeDocument/2006/relationships/customXml" Target="../customXml/item793.xml"/><Relationship Id="rId7" Type="http://schemas.openxmlformats.org/officeDocument/2006/relationships/customXml" Target="../customXml/item7.xml"/><Relationship Id="rId239" Type="http://schemas.openxmlformats.org/officeDocument/2006/relationships/customXml" Target="../customXml/item239.xml"/><Relationship Id="rId446" Type="http://schemas.openxmlformats.org/officeDocument/2006/relationships/customXml" Target="../customXml/item446.xml"/><Relationship Id="rId653" Type="http://schemas.openxmlformats.org/officeDocument/2006/relationships/customXml" Target="../customXml/item653.xml"/><Relationship Id="rId1076" Type="http://schemas.openxmlformats.org/officeDocument/2006/relationships/customXml" Target="../customXml/item1076.xml"/><Relationship Id="rId306" Type="http://schemas.openxmlformats.org/officeDocument/2006/relationships/customXml" Target="../customXml/item306.xml"/><Relationship Id="rId860" Type="http://schemas.openxmlformats.org/officeDocument/2006/relationships/customXml" Target="../customXml/item860.xml"/><Relationship Id="rId958" Type="http://schemas.openxmlformats.org/officeDocument/2006/relationships/customXml" Target="../customXml/item958.xml"/><Relationship Id="rId1143" Type="http://schemas.openxmlformats.org/officeDocument/2006/relationships/customXml" Target="../customXml/item1143.xml"/><Relationship Id="rId87" Type="http://schemas.openxmlformats.org/officeDocument/2006/relationships/customXml" Target="../customXml/item87.xml"/><Relationship Id="rId513" Type="http://schemas.openxmlformats.org/officeDocument/2006/relationships/customXml" Target="../customXml/item513.xml"/><Relationship Id="rId720" Type="http://schemas.openxmlformats.org/officeDocument/2006/relationships/customXml" Target="../customXml/item720.xml"/><Relationship Id="rId818" Type="http://schemas.openxmlformats.org/officeDocument/2006/relationships/customXml" Target="../customXml/item818.xml"/><Relationship Id="rId1003" Type="http://schemas.openxmlformats.org/officeDocument/2006/relationships/customXml" Target="../customXml/item1003.xml"/><Relationship Id="rId1210" Type="http://schemas.openxmlformats.org/officeDocument/2006/relationships/customXml" Target="../customXml/item1210.xml"/><Relationship Id="rId14" Type="http://schemas.openxmlformats.org/officeDocument/2006/relationships/customXml" Target="../customXml/item14.xml"/><Relationship Id="rId163" Type="http://schemas.openxmlformats.org/officeDocument/2006/relationships/customXml" Target="../customXml/item163.xml"/><Relationship Id="rId370" Type="http://schemas.openxmlformats.org/officeDocument/2006/relationships/customXml" Target="../customXml/item370.xml"/><Relationship Id="rId230" Type="http://schemas.openxmlformats.org/officeDocument/2006/relationships/customXml" Target="../customXml/item230.xml"/><Relationship Id="rId468" Type="http://schemas.openxmlformats.org/officeDocument/2006/relationships/customXml" Target="../customXml/item468.xml"/><Relationship Id="rId675" Type="http://schemas.openxmlformats.org/officeDocument/2006/relationships/customXml" Target="../customXml/item675.xml"/><Relationship Id="rId882" Type="http://schemas.openxmlformats.org/officeDocument/2006/relationships/customXml" Target="../customXml/item882.xml"/><Relationship Id="rId1098" Type="http://schemas.openxmlformats.org/officeDocument/2006/relationships/customXml" Target="../customXml/item1098.xml"/><Relationship Id="rId328" Type="http://schemas.openxmlformats.org/officeDocument/2006/relationships/customXml" Target="../customXml/item328.xml"/><Relationship Id="rId535" Type="http://schemas.openxmlformats.org/officeDocument/2006/relationships/customXml" Target="../customXml/item535.xml"/><Relationship Id="rId742" Type="http://schemas.openxmlformats.org/officeDocument/2006/relationships/customXml" Target="../customXml/item742.xml"/><Relationship Id="rId1165" Type="http://schemas.openxmlformats.org/officeDocument/2006/relationships/customXml" Target="../customXml/item1165.xml"/><Relationship Id="rId602" Type="http://schemas.openxmlformats.org/officeDocument/2006/relationships/customXml" Target="../customXml/item602.xml"/><Relationship Id="rId1025" Type="http://schemas.openxmlformats.org/officeDocument/2006/relationships/customXml" Target="../customXml/item1025.xml"/><Relationship Id="rId907" Type="http://schemas.openxmlformats.org/officeDocument/2006/relationships/customXml" Target="../customXml/item907.xml"/><Relationship Id="rId36" Type="http://schemas.openxmlformats.org/officeDocument/2006/relationships/customXml" Target="../customXml/item36.xml"/><Relationship Id="rId185" Type="http://schemas.openxmlformats.org/officeDocument/2006/relationships/customXml" Target="../customXml/item185.xml"/><Relationship Id="rId392" Type="http://schemas.openxmlformats.org/officeDocument/2006/relationships/customXml" Target="../customXml/item392.xml"/><Relationship Id="rId697" Type="http://schemas.openxmlformats.org/officeDocument/2006/relationships/customXml" Target="../customXml/item697.xml"/><Relationship Id="rId252" Type="http://schemas.openxmlformats.org/officeDocument/2006/relationships/customXml" Target="../customXml/item252.xml"/><Relationship Id="rId1187" Type="http://schemas.openxmlformats.org/officeDocument/2006/relationships/customXml" Target="../customXml/item1187.xml"/><Relationship Id="rId112" Type="http://schemas.openxmlformats.org/officeDocument/2006/relationships/customXml" Target="../customXml/item112.xml"/><Relationship Id="rId557" Type="http://schemas.openxmlformats.org/officeDocument/2006/relationships/customXml" Target="../customXml/item557.xml"/><Relationship Id="rId764" Type="http://schemas.openxmlformats.org/officeDocument/2006/relationships/customXml" Target="../customXml/item764.xml"/><Relationship Id="rId971" Type="http://schemas.openxmlformats.org/officeDocument/2006/relationships/customXml" Target="../customXml/item971.xml"/><Relationship Id="rId417" Type="http://schemas.openxmlformats.org/officeDocument/2006/relationships/customXml" Target="../customXml/item417.xml"/><Relationship Id="rId624" Type="http://schemas.openxmlformats.org/officeDocument/2006/relationships/customXml" Target="../customXml/item624.xml"/><Relationship Id="rId831" Type="http://schemas.openxmlformats.org/officeDocument/2006/relationships/customXml" Target="../customXml/item831.xml"/><Relationship Id="rId1047" Type="http://schemas.openxmlformats.org/officeDocument/2006/relationships/customXml" Target="../customXml/item1047.xml"/><Relationship Id="rId929" Type="http://schemas.openxmlformats.org/officeDocument/2006/relationships/customXml" Target="../customXml/item929.xml"/><Relationship Id="rId1114" Type="http://schemas.openxmlformats.org/officeDocument/2006/relationships/customXml" Target="../customXml/item1114.xml"/><Relationship Id="rId58" Type="http://schemas.openxmlformats.org/officeDocument/2006/relationships/customXml" Target="../customXml/item58.xml"/><Relationship Id="rId274" Type="http://schemas.openxmlformats.org/officeDocument/2006/relationships/customXml" Target="../customXml/item274.xml"/><Relationship Id="rId481" Type="http://schemas.openxmlformats.org/officeDocument/2006/relationships/customXml" Target="../customXml/item481.xml"/><Relationship Id="rId134" Type="http://schemas.openxmlformats.org/officeDocument/2006/relationships/customXml" Target="../customXml/item134.xml"/><Relationship Id="rId579" Type="http://schemas.openxmlformats.org/officeDocument/2006/relationships/customXml" Target="../customXml/item579.xml"/><Relationship Id="rId786" Type="http://schemas.openxmlformats.org/officeDocument/2006/relationships/customXml" Target="../customXml/item786.xml"/><Relationship Id="rId993" Type="http://schemas.openxmlformats.org/officeDocument/2006/relationships/customXml" Target="../customXml/item993.xml"/><Relationship Id="rId341" Type="http://schemas.openxmlformats.org/officeDocument/2006/relationships/customXml" Target="../customXml/item341.xml"/><Relationship Id="rId439" Type="http://schemas.openxmlformats.org/officeDocument/2006/relationships/customXml" Target="../customXml/item439.xml"/><Relationship Id="rId646" Type="http://schemas.openxmlformats.org/officeDocument/2006/relationships/customXml" Target="../customXml/item646.xml"/><Relationship Id="rId1069" Type="http://schemas.openxmlformats.org/officeDocument/2006/relationships/customXml" Target="../customXml/item1069.xml"/><Relationship Id="rId201" Type="http://schemas.openxmlformats.org/officeDocument/2006/relationships/customXml" Target="../customXml/item201.xml"/><Relationship Id="rId506" Type="http://schemas.openxmlformats.org/officeDocument/2006/relationships/customXml" Target="../customXml/item506.xml"/><Relationship Id="rId853" Type="http://schemas.openxmlformats.org/officeDocument/2006/relationships/customXml" Target="../customXml/item853.xml"/><Relationship Id="rId1136" Type="http://schemas.openxmlformats.org/officeDocument/2006/relationships/customXml" Target="../customXml/item1136.xml"/><Relationship Id="rId713" Type="http://schemas.openxmlformats.org/officeDocument/2006/relationships/customXml" Target="../customXml/item713.xml"/><Relationship Id="rId920" Type="http://schemas.openxmlformats.org/officeDocument/2006/relationships/customXml" Target="../customXml/item920.xml"/><Relationship Id="rId1203" Type="http://schemas.openxmlformats.org/officeDocument/2006/relationships/customXml" Target="../customXml/item1203.xml"/><Relationship Id="rId296" Type="http://schemas.openxmlformats.org/officeDocument/2006/relationships/customXml" Target="../customXml/item296.xml"/><Relationship Id="rId156" Type="http://schemas.openxmlformats.org/officeDocument/2006/relationships/customXml" Target="../customXml/item156.xml"/><Relationship Id="rId363" Type="http://schemas.openxmlformats.org/officeDocument/2006/relationships/customXml" Target="../customXml/item363.xml"/><Relationship Id="rId570" Type="http://schemas.openxmlformats.org/officeDocument/2006/relationships/customXml" Target="../customXml/item570.xml"/><Relationship Id="rId223" Type="http://schemas.openxmlformats.org/officeDocument/2006/relationships/customXml" Target="../customXml/item223.xml"/><Relationship Id="rId430" Type="http://schemas.openxmlformats.org/officeDocument/2006/relationships/customXml" Target="../customXml/item430.xml"/><Relationship Id="rId668" Type="http://schemas.openxmlformats.org/officeDocument/2006/relationships/customXml" Target="../customXml/item668.xml"/><Relationship Id="rId875" Type="http://schemas.openxmlformats.org/officeDocument/2006/relationships/customXml" Target="../customXml/item875.xml"/><Relationship Id="rId1060" Type="http://schemas.openxmlformats.org/officeDocument/2006/relationships/customXml" Target="../customXml/item1060.xml"/><Relationship Id="rId528" Type="http://schemas.openxmlformats.org/officeDocument/2006/relationships/customXml" Target="../customXml/item528.xml"/><Relationship Id="rId735" Type="http://schemas.openxmlformats.org/officeDocument/2006/relationships/customXml" Target="../customXml/item735.xml"/><Relationship Id="rId942" Type="http://schemas.openxmlformats.org/officeDocument/2006/relationships/customXml" Target="../customXml/item942.xml"/><Relationship Id="rId1158" Type="http://schemas.openxmlformats.org/officeDocument/2006/relationships/customXml" Target="../customXml/item1158.xml"/><Relationship Id="rId1018" Type="http://schemas.openxmlformats.org/officeDocument/2006/relationships/customXml" Target="../customXml/item1018.xml"/><Relationship Id="rId1225" Type="http://schemas.openxmlformats.org/officeDocument/2006/relationships/slide" Target="slides/slide9.xml"/><Relationship Id="rId71" Type="http://schemas.openxmlformats.org/officeDocument/2006/relationships/customXml" Target="../customXml/item71.xml"/><Relationship Id="rId802" Type="http://schemas.openxmlformats.org/officeDocument/2006/relationships/customXml" Target="../customXml/item802.xml"/><Relationship Id="rId29" Type="http://schemas.openxmlformats.org/officeDocument/2006/relationships/customXml" Target="../customXml/item29.xml"/><Relationship Id="rId178" Type="http://schemas.openxmlformats.org/officeDocument/2006/relationships/customXml" Target="../customXml/item178.xml"/><Relationship Id="rId301" Type="http://schemas.openxmlformats.org/officeDocument/2006/relationships/customXml" Target="../customXml/item301.xml"/><Relationship Id="rId953" Type="http://schemas.openxmlformats.org/officeDocument/2006/relationships/customXml" Target="../customXml/item953.xml"/><Relationship Id="rId1029" Type="http://schemas.openxmlformats.org/officeDocument/2006/relationships/customXml" Target="../customXml/item1029.xml"/><Relationship Id="rId82" Type="http://schemas.openxmlformats.org/officeDocument/2006/relationships/customXml" Target="../customXml/item82.xml"/><Relationship Id="rId385" Type="http://schemas.openxmlformats.org/officeDocument/2006/relationships/customXml" Target="../customXml/item385.xml"/><Relationship Id="rId592" Type="http://schemas.openxmlformats.org/officeDocument/2006/relationships/customXml" Target="../customXml/item592.xml"/><Relationship Id="rId606" Type="http://schemas.openxmlformats.org/officeDocument/2006/relationships/customXml" Target="../customXml/item606.xml"/><Relationship Id="rId813" Type="http://schemas.openxmlformats.org/officeDocument/2006/relationships/customXml" Target="../customXml/item813.xml"/><Relationship Id="rId245" Type="http://schemas.openxmlformats.org/officeDocument/2006/relationships/customXml" Target="../customXml/item245.xml"/><Relationship Id="rId452" Type="http://schemas.openxmlformats.org/officeDocument/2006/relationships/customXml" Target="../customXml/item452.xml"/><Relationship Id="rId897" Type="http://schemas.openxmlformats.org/officeDocument/2006/relationships/customXml" Target="../customXml/item897.xml"/><Relationship Id="rId1082" Type="http://schemas.openxmlformats.org/officeDocument/2006/relationships/customXml" Target="../customXml/item1082.xml"/><Relationship Id="rId105" Type="http://schemas.openxmlformats.org/officeDocument/2006/relationships/customXml" Target="../customXml/item105.xml"/><Relationship Id="rId312" Type="http://schemas.openxmlformats.org/officeDocument/2006/relationships/customXml" Target="../customXml/item312.xml"/><Relationship Id="rId757" Type="http://schemas.openxmlformats.org/officeDocument/2006/relationships/customXml" Target="../customXml/item757.xml"/><Relationship Id="rId964" Type="http://schemas.openxmlformats.org/officeDocument/2006/relationships/customXml" Target="../customXml/item964.xml"/><Relationship Id="rId93" Type="http://schemas.openxmlformats.org/officeDocument/2006/relationships/customXml" Target="../customXml/item93.xml"/><Relationship Id="rId189" Type="http://schemas.openxmlformats.org/officeDocument/2006/relationships/customXml" Target="../customXml/item189.xml"/><Relationship Id="rId396" Type="http://schemas.openxmlformats.org/officeDocument/2006/relationships/customXml" Target="../customXml/item396.xml"/><Relationship Id="rId617" Type="http://schemas.openxmlformats.org/officeDocument/2006/relationships/customXml" Target="../customXml/item617.xml"/><Relationship Id="rId824" Type="http://schemas.openxmlformats.org/officeDocument/2006/relationships/customXml" Target="../customXml/item824.xml"/><Relationship Id="rId256" Type="http://schemas.openxmlformats.org/officeDocument/2006/relationships/customXml" Target="../customXml/item256.xml"/><Relationship Id="rId463" Type="http://schemas.openxmlformats.org/officeDocument/2006/relationships/customXml" Target="../customXml/item463.xml"/><Relationship Id="rId670" Type="http://schemas.openxmlformats.org/officeDocument/2006/relationships/customXml" Target="../customXml/item670.xml"/><Relationship Id="rId1093" Type="http://schemas.openxmlformats.org/officeDocument/2006/relationships/customXml" Target="../customXml/item1093.xml"/><Relationship Id="rId1107" Type="http://schemas.openxmlformats.org/officeDocument/2006/relationships/customXml" Target="../customXml/item1107.xml"/><Relationship Id="rId116" Type="http://schemas.openxmlformats.org/officeDocument/2006/relationships/customXml" Target="../customXml/item116.xml"/><Relationship Id="rId323" Type="http://schemas.openxmlformats.org/officeDocument/2006/relationships/customXml" Target="../customXml/item323.xml"/><Relationship Id="rId530" Type="http://schemas.openxmlformats.org/officeDocument/2006/relationships/customXml" Target="../customXml/item530.xml"/><Relationship Id="rId768" Type="http://schemas.openxmlformats.org/officeDocument/2006/relationships/customXml" Target="../customXml/item768.xml"/><Relationship Id="rId975" Type="http://schemas.openxmlformats.org/officeDocument/2006/relationships/customXml" Target="../customXml/item975.xml"/><Relationship Id="rId1160" Type="http://schemas.openxmlformats.org/officeDocument/2006/relationships/customXml" Target="../customXml/item1160.xml"/><Relationship Id="rId20" Type="http://schemas.openxmlformats.org/officeDocument/2006/relationships/customXml" Target="../customXml/item20.xml"/><Relationship Id="rId628" Type="http://schemas.openxmlformats.org/officeDocument/2006/relationships/customXml" Target="../customXml/item628.xml"/><Relationship Id="rId835" Type="http://schemas.openxmlformats.org/officeDocument/2006/relationships/customXml" Target="../customXml/item835.xml"/><Relationship Id="rId267" Type="http://schemas.openxmlformats.org/officeDocument/2006/relationships/customXml" Target="../customXml/item267.xml"/><Relationship Id="rId474" Type="http://schemas.openxmlformats.org/officeDocument/2006/relationships/customXml" Target="../customXml/item474.xml"/><Relationship Id="rId1020" Type="http://schemas.openxmlformats.org/officeDocument/2006/relationships/customXml" Target="../customXml/item1020.xml"/><Relationship Id="rId1118" Type="http://schemas.openxmlformats.org/officeDocument/2006/relationships/customXml" Target="../customXml/item1118.xml"/><Relationship Id="rId127" Type="http://schemas.openxmlformats.org/officeDocument/2006/relationships/customXml" Target="../customXml/item127.xml"/><Relationship Id="rId681" Type="http://schemas.openxmlformats.org/officeDocument/2006/relationships/customXml" Target="../customXml/item681.xml"/><Relationship Id="rId779" Type="http://schemas.openxmlformats.org/officeDocument/2006/relationships/customXml" Target="../customXml/item779.xml"/><Relationship Id="rId902" Type="http://schemas.openxmlformats.org/officeDocument/2006/relationships/customXml" Target="../customXml/item902.xml"/><Relationship Id="rId986" Type="http://schemas.openxmlformats.org/officeDocument/2006/relationships/customXml" Target="../customXml/item986.xml"/><Relationship Id="rId31" Type="http://schemas.openxmlformats.org/officeDocument/2006/relationships/customXml" Target="../customXml/item31.xml"/><Relationship Id="rId334" Type="http://schemas.openxmlformats.org/officeDocument/2006/relationships/customXml" Target="../customXml/item334.xml"/><Relationship Id="rId541" Type="http://schemas.openxmlformats.org/officeDocument/2006/relationships/customXml" Target="../customXml/item541.xml"/><Relationship Id="rId639" Type="http://schemas.openxmlformats.org/officeDocument/2006/relationships/customXml" Target="../customXml/item639.xml"/><Relationship Id="rId1171" Type="http://schemas.openxmlformats.org/officeDocument/2006/relationships/customXml" Target="../customXml/item1171.xml"/><Relationship Id="rId180" Type="http://schemas.openxmlformats.org/officeDocument/2006/relationships/customXml" Target="../customXml/item180.xml"/><Relationship Id="rId278" Type="http://schemas.openxmlformats.org/officeDocument/2006/relationships/customXml" Target="../customXml/item278.xml"/><Relationship Id="rId401" Type="http://schemas.openxmlformats.org/officeDocument/2006/relationships/customXml" Target="../customXml/item401.xml"/><Relationship Id="rId846" Type="http://schemas.openxmlformats.org/officeDocument/2006/relationships/customXml" Target="../customXml/item846.xml"/><Relationship Id="rId1031" Type="http://schemas.openxmlformats.org/officeDocument/2006/relationships/customXml" Target="../customXml/item1031.xml"/><Relationship Id="rId1129" Type="http://schemas.openxmlformats.org/officeDocument/2006/relationships/customXml" Target="../customXml/item1129.xml"/><Relationship Id="rId485" Type="http://schemas.openxmlformats.org/officeDocument/2006/relationships/customXml" Target="../customXml/item485.xml"/><Relationship Id="rId692" Type="http://schemas.openxmlformats.org/officeDocument/2006/relationships/customXml" Target="../customXml/item692.xml"/><Relationship Id="rId706" Type="http://schemas.openxmlformats.org/officeDocument/2006/relationships/customXml" Target="../customXml/item706.xml"/><Relationship Id="rId913" Type="http://schemas.openxmlformats.org/officeDocument/2006/relationships/customXml" Target="../customXml/item913.xml"/><Relationship Id="rId42" Type="http://schemas.openxmlformats.org/officeDocument/2006/relationships/customXml" Target="../customXml/item42.xml"/><Relationship Id="rId138" Type="http://schemas.openxmlformats.org/officeDocument/2006/relationships/customXml" Target="../customXml/item138.xml"/><Relationship Id="rId345" Type="http://schemas.openxmlformats.org/officeDocument/2006/relationships/customXml" Target="../customXml/item345.xml"/><Relationship Id="rId552" Type="http://schemas.openxmlformats.org/officeDocument/2006/relationships/customXml" Target="../customXml/item552.xml"/><Relationship Id="rId997" Type="http://schemas.openxmlformats.org/officeDocument/2006/relationships/customXml" Target="../customXml/item997.xml"/><Relationship Id="rId1182" Type="http://schemas.openxmlformats.org/officeDocument/2006/relationships/customXml" Target="../customXml/item1182.xml"/><Relationship Id="rId191" Type="http://schemas.openxmlformats.org/officeDocument/2006/relationships/customXml" Target="../customXml/item191.xml"/><Relationship Id="rId205" Type="http://schemas.openxmlformats.org/officeDocument/2006/relationships/customXml" Target="../customXml/item205.xml"/><Relationship Id="rId412" Type="http://schemas.openxmlformats.org/officeDocument/2006/relationships/customXml" Target="../customXml/item412.xml"/><Relationship Id="rId857" Type="http://schemas.openxmlformats.org/officeDocument/2006/relationships/customXml" Target="../customXml/item857.xml"/><Relationship Id="rId1042" Type="http://schemas.openxmlformats.org/officeDocument/2006/relationships/customXml" Target="../customXml/item1042.xml"/><Relationship Id="rId289" Type="http://schemas.openxmlformats.org/officeDocument/2006/relationships/customXml" Target="../customXml/item289.xml"/><Relationship Id="rId496" Type="http://schemas.openxmlformats.org/officeDocument/2006/relationships/customXml" Target="../customXml/item496.xml"/><Relationship Id="rId717" Type="http://schemas.openxmlformats.org/officeDocument/2006/relationships/customXml" Target="../customXml/item717.xml"/><Relationship Id="rId924" Type="http://schemas.openxmlformats.org/officeDocument/2006/relationships/customXml" Target="../customXml/item924.xml"/><Relationship Id="rId53" Type="http://schemas.openxmlformats.org/officeDocument/2006/relationships/customXml" Target="../customXml/item53.xml"/><Relationship Id="rId149" Type="http://schemas.openxmlformats.org/officeDocument/2006/relationships/customXml" Target="../customXml/item149.xml"/><Relationship Id="rId356" Type="http://schemas.openxmlformats.org/officeDocument/2006/relationships/customXml" Target="../customXml/item356.xml"/><Relationship Id="rId563" Type="http://schemas.openxmlformats.org/officeDocument/2006/relationships/customXml" Target="../customXml/item563.xml"/><Relationship Id="rId770" Type="http://schemas.openxmlformats.org/officeDocument/2006/relationships/customXml" Target="../customXml/item770.xml"/><Relationship Id="rId1193" Type="http://schemas.openxmlformats.org/officeDocument/2006/relationships/customXml" Target="../customXml/item1193.xml"/><Relationship Id="rId1207" Type="http://schemas.openxmlformats.org/officeDocument/2006/relationships/customXml" Target="../customXml/item1207.xml"/><Relationship Id="rId216" Type="http://schemas.openxmlformats.org/officeDocument/2006/relationships/customXml" Target="../customXml/item216.xml"/><Relationship Id="rId423" Type="http://schemas.openxmlformats.org/officeDocument/2006/relationships/customXml" Target="../customXml/item423.xml"/><Relationship Id="rId868" Type="http://schemas.openxmlformats.org/officeDocument/2006/relationships/customXml" Target="../customXml/item868.xml"/><Relationship Id="rId1053" Type="http://schemas.openxmlformats.org/officeDocument/2006/relationships/customXml" Target="../customXml/item1053.xml"/><Relationship Id="rId630" Type="http://schemas.openxmlformats.org/officeDocument/2006/relationships/customXml" Target="../customXml/item630.xml"/><Relationship Id="rId728" Type="http://schemas.openxmlformats.org/officeDocument/2006/relationships/customXml" Target="../customXml/item728.xml"/><Relationship Id="rId935" Type="http://schemas.openxmlformats.org/officeDocument/2006/relationships/customXml" Target="../customXml/item935.xml"/><Relationship Id="rId64" Type="http://schemas.openxmlformats.org/officeDocument/2006/relationships/customXml" Target="../customXml/item64.xml"/><Relationship Id="rId367" Type="http://schemas.openxmlformats.org/officeDocument/2006/relationships/customXml" Target="../customXml/item367.xml"/><Relationship Id="rId574" Type="http://schemas.openxmlformats.org/officeDocument/2006/relationships/customXml" Target="../customXml/item574.xml"/><Relationship Id="rId1120" Type="http://schemas.openxmlformats.org/officeDocument/2006/relationships/customXml" Target="../customXml/item1120.xml"/><Relationship Id="rId1218" Type="http://schemas.openxmlformats.org/officeDocument/2006/relationships/slide" Target="slides/slide2.xml"/><Relationship Id="rId227" Type="http://schemas.openxmlformats.org/officeDocument/2006/relationships/customXml" Target="../customXml/item227.xml"/><Relationship Id="rId781" Type="http://schemas.openxmlformats.org/officeDocument/2006/relationships/customXml" Target="../customXml/item781.xml"/><Relationship Id="rId879" Type="http://schemas.openxmlformats.org/officeDocument/2006/relationships/customXml" Target="../customXml/item879.xml"/><Relationship Id="rId434" Type="http://schemas.openxmlformats.org/officeDocument/2006/relationships/customXml" Target="../customXml/item434.xml"/><Relationship Id="rId641" Type="http://schemas.openxmlformats.org/officeDocument/2006/relationships/customXml" Target="../customXml/item641.xml"/><Relationship Id="rId739" Type="http://schemas.openxmlformats.org/officeDocument/2006/relationships/customXml" Target="../customXml/item739.xml"/><Relationship Id="rId1064" Type="http://schemas.openxmlformats.org/officeDocument/2006/relationships/customXml" Target="../customXml/item1064.xml"/><Relationship Id="rId280" Type="http://schemas.openxmlformats.org/officeDocument/2006/relationships/customXml" Target="../customXml/item280.xml"/><Relationship Id="rId501" Type="http://schemas.openxmlformats.org/officeDocument/2006/relationships/customXml" Target="../customXml/item501.xml"/><Relationship Id="rId946" Type="http://schemas.openxmlformats.org/officeDocument/2006/relationships/customXml" Target="../customXml/item946.xml"/><Relationship Id="rId1131" Type="http://schemas.openxmlformats.org/officeDocument/2006/relationships/customXml" Target="../customXml/item1131.xml"/><Relationship Id="rId1229" Type="http://schemas.openxmlformats.org/officeDocument/2006/relationships/viewProps" Target="viewProps.xml"/><Relationship Id="rId75" Type="http://schemas.openxmlformats.org/officeDocument/2006/relationships/customXml" Target="../customXml/item75.xml"/><Relationship Id="rId140" Type="http://schemas.openxmlformats.org/officeDocument/2006/relationships/customXml" Target="../customXml/item140.xml"/><Relationship Id="rId378" Type="http://schemas.openxmlformats.org/officeDocument/2006/relationships/customXml" Target="../customXml/item378.xml"/><Relationship Id="rId585" Type="http://schemas.openxmlformats.org/officeDocument/2006/relationships/customXml" Target="../customXml/item585.xml"/><Relationship Id="rId792" Type="http://schemas.openxmlformats.org/officeDocument/2006/relationships/customXml" Target="../customXml/item792.xml"/><Relationship Id="rId806" Type="http://schemas.openxmlformats.org/officeDocument/2006/relationships/customXml" Target="../customXml/item806.xml"/><Relationship Id="rId6" Type="http://schemas.openxmlformats.org/officeDocument/2006/relationships/customXml" Target="../customXml/item6.xml"/><Relationship Id="rId238" Type="http://schemas.openxmlformats.org/officeDocument/2006/relationships/customXml" Target="../customXml/item238.xml"/><Relationship Id="rId445" Type="http://schemas.openxmlformats.org/officeDocument/2006/relationships/customXml" Target="../customXml/item445.xml"/><Relationship Id="rId652" Type="http://schemas.openxmlformats.org/officeDocument/2006/relationships/customXml" Target="../customXml/item652.xml"/><Relationship Id="rId1075" Type="http://schemas.openxmlformats.org/officeDocument/2006/relationships/customXml" Target="../customXml/item1075.xml"/><Relationship Id="rId291" Type="http://schemas.openxmlformats.org/officeDocument/2006/relationships/customXml" Target="../customXml/item291.xml"/><Relationship Id="rId305" Type="http://schemas.openxmlformats.org/officeDocument/2006/relationships/customXml" Target="../customXml/item305.xml"/><Relationship Id="rId512" Type="http://schemas.openxmlformats.org/officeDocument/2006/relationships/customXml" Target="../customXml/item512.xml"/><Relationship Id="rId957" Type="http://schemas.openxmlformats.org/officeDocument/2006/relationships/customXml" Target="../customXml/item957.xml"/><Relationship Id="rId1142" Type="http://schemas.openxmlformats.org/officeDocument/2006/relationships/customXml" Target="../customXml/item1142.xml"/><Relationship Id="rId86" Type="http://schemas.openxmlformats.org/officeDocument/2006/relationships/customXml" Target="../customXml/item86.xml"/><Relationship Id="rId151" Type="http://schemas.openxmlformats.org/officeDocument/2006/relationships/customXml" Target="../customXml/item151.xml"/><Relationship Id="rId389" Type="http://schemas.openxmlformats.org/officeDocument/2006/relationships/customXml" Target="../customXml/item389.xml"/><Relationship Id="rId596" Type="http://schemas.openxmlformats.org/officeDocument/2006/relationships/customXml" Target="../customXml/item596.xml"/><Relationship Id="rId817" Type="http://schemas.openxmlformats.org/officeDocument/2006/relationships/customXml" Target="../customXml/item817.xml"/><Relationship Id="rId1002" Type="http://schemas.openxmlformats.org/officeDocument/2006/relationships/customXml" Target="../customXml/item1002.xml"/><Relationship Id="rId249" Type="http://schemas.openxmlformats.org/officeDocument/2006/relationships/customXml" Target="../customXml/item249.xml"/><Relationship Id="rId456" Type="http://schemas.openxmlformats.org/officeDocument/2006/relationships/customXml" Target="../customXml/item456.xml"/><Relationship Id="rId663" Type="http://schemas.openxmlformats.org/officeDocument/2006/relationships/customXml" Target="../customXml/item663.xml"/><Relationship Id="rId870" Type="http://schemas.openxmlformats.org/officeDocument/2006/relationships/customXml" Target="../customXml/item870.xml"/><Relationship Id="rId1086" Type="http://schemas.openxmlformats.org/officeDocument/2006/relationships/customXml" Target="../customXml/item1086.xml"/><Relationship Id="rId13" Type="http://schemas.openxmlformats.org/officeDocument/2006/relationships/customXml" Target="../customXml/item13.xml"/><Relationship Id="rId109" Type="http://schemas.openxmlformats.org/officeDocument/2006/relationships/customXml" Target="../customXml/item109.xml"/><Relationship Id="rId316" Type="http://schemas.openxmlformats.org/officeDocument/2006/relationships/customXml" Target="../customXml/item316.xml"/><Relationship Id="rId523" Type="http://schemas.openxmlformats.org/officeDocument/2006/relationships/customXml" Target="../customXml/item523.xml"/><Relationship Id="rId968" Type="http://schemas.openxmlformats.org/officeDocument/2006/relationships/customXml" Target="../customXml/item968.xml"/><Relationship Id="rId1153" Type="http://schemas.openxmlformats.org/officeDocument/2006/relationships/customXml" Target="../customXml/item1153.xml"/><Relationship Id="rId97" Type="http://schemas.openxmlformats.org/officeDocument/2006/relationships/customXml" Target="../customXml/item97.xml"/><Relationship Id="rId730" Type="http://schemas.openxmlformats.org/officeDocument/2006/relationships/customXml" Target="../customXml/item730.xml"/><Relationship Id="rId828" Type="http://schemas.openxmlformats.org/officeDocument/2006/relationships/customXml" Target="../customXml/item828.xml"/><Relationship Id="rId1013" Type="http://schemas.openxmlformats.org/officeDocument/2006/relationships/customXml" Target="../customXml/item1013.xml"/><Relationship Id="rId162" Type="http://schemas.openxmlformats.org/officeDocument/2006/relationships/customXml" Target="../customXml/item162.xml"/><Relationship Id="rId467" Type="http://schemas.openxmlformats.org/officeDocument/2006/relationships/customXml" Target="../customXml/item467.xml"/><Relationship Id="rId1097" Type="http://schemas.openxmlformats.org/officeDocument/2006/relationships/customXml" Target="../customXml/item1097.xml"/><Relationship Id="rId1220" Type="http://schemas.openxmlformats.org/officeDocument/2006/relationships/slide" Target="slides/slide4.xml"/><Relationship Id="rId674" Type="http://schemas.openxmlformats.org/officeDocument/2006/relationships/customXml" Target="../customXml/item674.xml"/><Relationship Id="rId881" Type="http://schemas.openxmlformats.org/officeDocument/2006/relationships/customXml" Target="../customXml/item881.xml"/><Relationship Id="rId979" Type="http://schemas.openxmlformats.org/officeDocument/2006/relationships/customXml" Target="../customXml/item979.xml"/><Relationship Id="rId24" Type="http://schemas.openxmlformats.org/officeDocument/2006/relationships/customXml" Target="../customXml/item24.xml"/><Relationship Id="rId327" Type="http://schemas.openxmlformats.org/officeDocument/2006/relationships/customXml" Target="../customXml/item327.xml"/><Relationship Id="rId534" Type="http://schemas.openxmlformats.org/officeDocument/2006/relationships/customXml" Target="../customXml/item534.xml"/><Relationship Id="rId741" Type="http://schemas.openxmlformats.org/officeDocument/2006/relationships/customXml" Target="../customXml/item741.xml"/><Relationship Id="rId839" Type="http://schemas.openxmlformats.org/officeDocument/2006/relationships/customXml" Target="../customXml/item839.xml"/><Relationship Id="rId1164" Type="http://schemas.openxmlformats.org/officeDocument/2006/relationships/customXml" Target="../customXml/item1164.xml"/><Relationship Id="rId173" Type="http://schemas.openxmlformats.org/officeDocument/2006/relationships/customXml" Target="../customXml/item173.xml"/><Relationship Id="rId380" Type="http://schemas.openxmlformats.org/officeDocument/2006/relationships/customXml" Target="../customXml/item380.xml"/><Relationship Id="rId601" Type="http://schemas.openxmlformats.org/officeDocument/2006/relationships/customXml" Target="../customXml/item601.xml"/><Relationship Id="rId1024" Type="http://schemas.openxmlformats.org/officeDocument/2006/relationships/customXml" Target="../customXml/item1024.xml"/><Relationship Id="rId1231" Type="http://schemas.openxmlformats.org/officeDocument/2006/relationships/tableStyles" Target="tableStyles.xml"/><Relationship Id="rId240" Type="http://schemas.openxmlformats.org/officeDocument/2006/relationships/customXml" Target="../customXml/item240.xml"/><Relationship Id="rId478" Type="http://schemas.openxmlformats.org/officeDocument/2006/relationships/customXml" Target="../customXml/item478.xml"/><Relationship Id="rId685" Type="http://schemas.openxmlformats.org/officeDocument/2006/relationships/customXml" Target="../customXml/item685.xml"/><Relationship Id="rId892" Type="http://schemas.openxmlformats.org/officeDocument/2006/relationships/customXml" Target="../customXml/item892.xml"/><Relationship Id="rId906" Type="http://schemas.openxmlformats.org/officeDocument/2006/relationships/customXml" Target="../customXml/item906.xml"/><Relationship Id="rId35" Type="http://schemas.openxmlformats.org/officeDocument/2006/relationships/customXml" Target="../customXml/item35.xml"/><Relationship Id="rId100" Type="http://schemas.openxmlformats.org/officeDocument/2006/relationships/customXml" Target="../customXml/item100.xml"/><Relationship Id="rId338" Type="http://schemas.openxmlformats.org/officeDocument/2006/relationships/customXml" Target="../customXml/item338.xml"/><Relationship Id="rId545" Type="http://schemas.openxmlformats.org/officeDocument/2006/relationships/customXml" Target="../customXml/item545.xml"/><Relationship Id="rId752" Type="http://schemas.openxmlformats.org/officeDocument/2006/relationships/customXml" Target="../customXml/item752.xml"/><Relationship Id="rId1175" Type="http://schemas.openxmlformats.org/officeDocument/2006/relationships/customXml" Target="../customXml/item1175.xml"/><Relationship Id="rId184" Type="http://schemas.openxmlformats.org/officeDocument/2006/relationships/customXml" Target="../customXml/item184.xml"/><Relationship Id="rId391" Type="http://schemas.openxmlformats.org/officeDocument/2006/relationships/customXml" Target="../customXml/item391.xml"/><Relationship Id="rId405" Type="http://schemas.openxmlformats.org/officeDocument/2006/relationships/customXml" Target="../customXml/item405.xml"/><Relationship Id="rId612" Type="http://schemas.openxmlformats.org/officeDocument/2006/relationships/customXml" Target="../customXml/item612.xml"/><Relationship Id="rId1035" Type="http://schemas.openxmlformats.org/officeDocument/2006/relationships/customXml" Target="../customXml/item1035.xml"/><Relationship Id="rId251" Type="http://schemas.openxmlformats.org/officeDocument/2006/relationships/customXml" Target="../customXml/item251.xml"/><Relationship Id="rId489" Type="http://schemas.openxmlformats.org/officeDocument/2006/relationships/customXml" Target="../customXml/item489.xml"/><Relationship Id="rId696" Type="http://schemas.openxmlformats.org/officeDocument/2006/relationships/customXml" Target="../customXml/item696.xml"/><Relationship Id="rId917" Type="http://schemas.openxmlformats.org/officeDocument/2006/relationships/customXml" Target="../customXml/item917.xml"/><Relationship Id="rId1102" Type="http://schemas.openxmlformats.org/officeDocument/2006/relationships/customXml" Target="../customXml/item1102.xml"/><Relationship Id="rId46" Type="http://schemas.openxmlformats.org/officeDocument/2006/relationships/customXml" Target="../customXml/item46.xml"/><Relationship Id="rId349" Type="http://schemas.openxmlformats.org/officeDocument/2006/relationships/customXml" Target="../customXml/item349.xml"/><Relationship Id="rId556" Type="http://schemas.openxmlformats.org/officeDocument/2006/relationships/customXml" Target="../customXml/item556.xml"/><Relationship Id="rId763" Type="http://schemas.openxmlformats.org/officeDocument/2006/relationships/customXml" Target="../customXml/item763.xml"/><Relationship Id="rId1186" Type="http://schemas.openxmlformats.org/officeDocument/2006/relationships/customXml" Target="../customXml/item1186.xml"/><Relationship Id="rId111" Type="http://schemas.openxmlformats.org/officeDocument/2006/relationships/customXml" Target="../customXml/item111.xml"/><Relationship Id="rId195" Type="http://schemas.openxmlformats.org/officeDocument/2006/relationships/customXml" Target="../customXml/item195.xml"/><Relationship Id="rId209" Type="http://schemas.openxmlformats.org/officeDocument/2006/relationships/customXml" Target="../customXml/item209.xml"/><Relationship Id="rId416" Type="http://schemas.openxmlformats.org/officeDocument/2006/relationships/customXml" Target="../customXml/item416.xml"/><Relationship Id="rId970" Type="http://schemas.openxmlformats.org/officeDocument/2006/relationships/customXml" Target="../customXml/item970.xml"/><Relationship Id="rId1046" Type="http://schemas.openxmlformats.org/officeDocument/2006/relationships/customXml" Target="../customXml/item1046.xml"/><Relationship Id="rId623" Type="http://schemas.openxmlformats.org/officeDocument/2006/relationships/customXml" Target="../customXml/item623.xml"/><Relationship Id="rId830" Type="http://schemas.openxmlformats.org/officeDocument/2006/relationships/customXml" Target="../customXml/item830.xml"/><Relationship Id="rId928" Type="http://schemas.openxmlformats.org/officeDocument/2006/relationships/customXml" Target="../customXml/item928.xml"/><Relationship Id="rId57" Type="http://schemas.openxmlformats.org/officeDocument/2006/relationships/customXml" Target="../customXml/item57.xml"/><Relationship Id="rId262" Type="http://schemas.openxmlformats.org/officeDocument/2006/relationships/customXml" Target="../customXml/item262.xml"/><Relationship Id="rId567" Type="http://schemas.openxmlformats.org/officeDocument/2006/relationships/customXml" Target="../customXml/item567.xml"/><Relationship Id="rId1113" Type="http://schemas.openxmlformats.org/officeDocument/2006/relationships/customXml" Target="../customXml/item1113.xml"/><Relationship Id="rId1197" Type="http://schemas.openxmlformats.org/officeDocument/2006/relationships/customXml" Target="../customXml/item1197.xml"/><Relationship Id="rId122" Type="http://schemas.openxmlformats.org/officeDocument/2006/relationships/customXml" Target="../customXml/item122.xml"/><Relationship Id="rId774" Type="http://schemas.openxmlformats.org/officeDocument/2006/relationships/customXml" Target="../customXml/item774.xml"/><Relationship Id="rId981" Type="http://schemas.openxmlformats.org/officeDocument/2006/relationships/customXml" Target="../customXml/item981.xml"/><Relationship Id="rId1057" Type="http://schemas.openxmlformats.org/officeDocument/2006/relationships/customXml" Target="../customXml/item1057.xml"/><Relationship Id="rId427" Type="http://schemas.openxmlformats.org/officeDocument/2006/relationships/customXml" Target="../customXml/item427.xml"/><Relationship Id="rId634" Type="http://schemas.openxmlformats.org/officeDocument/2006/relationships/customXml" Target="../customXml/item634.xml"/><Relationship Id="rId841" Type="http://schemas.openxmlformats.org/officeDocument/2006/relationships/customXml" Target="../customXml/item841.xml"/><Relationship Id="rId273" Type="http://schemas.openxmlformats.org/officeDocument/2006/relationships/customXml" Target="../customXml/item273.xml"/><Relationship Id="rId480" Type="http://schemas.openxmlformats.org/officeDocument/2006/relationships/customXml" Target="../customXml/item480.xml"/><Relationship Id="rId701" Type="http://schemas.openxmlformats.org/officeDocument/2006/relationships/customXml" Target="../customXml/item701.xml"/><Relationship Id="rId939" Type="http://schemas.openxmlformats.org/officeDocument/2006/relationships/customXml" Target="../customXml/item939.xml"/><Relationship Id="rId1124" Type="http://schemas.openxmlformats.org/officeDocument/2006/relationships/customXml" Target="../customXml/item1124.xml"/><Relationship Id="rId68" Type="http://schemas.openxmlformats.org/officeDocument/2006/relationships/customXml" Target="../customXml/item68.xml"/><Relationship Id="rId133" Type="http://schemas.openxmlformats.org/officeDocument/2006/relationships/customXml" Target="../customXml/item133.xml"/><Relationship Id="rId340" Type="http://schemas.openxmlformats.org/officeDocument/2006/relationships/customXml" Target="../customXml/item340.xml"/><Relationship Id="rId578" Type="http://schemas.openxmlformats.org/officeDocument/2006/relationships/customXml" Target="../customXml/item578.xml"/><Relationship Id="rId785" Type="http://schemas.openxmlformats.org/officeDocument/2006/relationships/customXml" Target="../customXml/item785.xml"/><Relationship Id="rId992" Type="http://schemas.openxmlformats.org/officeDocument/2006/relationships/customXml" Target="../customXml/item992.xml"/><Relationship Id="rId200" Type="http://schemas.openxmlformats.org/officeDocument/2006/relationships/customXml" Target="../customXml/item200.xml"/><Relationship Id="rId438" Type="http://schemas.openxmlformats.org/officeDocument/2006/relationships/customXml" Target="../customXml/item438.xml"/><Relationship Id="rId645" Type="http://schemas.openxmlformats.org/officeDocument/2006/relationships/customXml" Target="../customXml/item645.xml"/><Relationship Id="rId852" Type="http://schemas.openxmlformats.org/officeDocument/2006/relationships/customXml" Target="../customXml/item852.xml"/><Relationship Id="rId1068" Type="http://schemas.openxmlformats.org/officeDocument/2006/relationships/customXml" Target="../customXml/item1068.xml"/><Relationship Id="rId284" Type="http://schemas.openxmlformats.org/officeDocument/2006/relationships/customXml" Target="../customXml/item284.xml"/><Relationship Id="rId491" Type="http://schemas.openxmlformats.org/officeDocument/2006/relationships/customXml" Target="../customXml/item491.xml"/><Relationship Id="rId505" Type="http://schemas.openxmlformats.org/officeDocument/2006/relationships/customXml" Target="../customXml/item505.xml"/><Relationship Id="rId712" Type="http://schemas.openxmlformats.org/officeDocument/2006/relationships/customXml" Target="../customXml/item712.xml"/><Relationship Id="rId1135" Type="http://schemas.openxmlformats.org/officeDocument/2006/relationships/customXml" Target="../customXml/item1135.xml"/><Relationship Id="rId79" Type="http://schemas.openxmlformats.org/officeDocument/2006/relationships/customXml" Target="../customXml/item79.xml"/><Relationship Id="rId144" Type="http://schemas.openxmlformats.org/officeDocument/2006/relationships/customXml" Target="../customXml/item144.xml"/><Relationship Id="rId589" Type="http://schemas.openxmlformats.org/officeDocument/2006/relationships/customXml" Target="../customXml/item589.xml"/><Relationship Id="rId796" Type="http://schemas.openxmlformats.org/officeDocument/2006/relationships/customXml" Target="../customXml/item796.xml"/><Relationship Id="rId1202" Type="http://schemas.openxmlformats.org/officeDocument/2006/relationships/customXml" Target="../customXml/item1202.xml"/><Relationship Id="rId351" Type="http://schemas.openxmlformats.org/officeDocument/2006/relationships/customXml" Target="../customXml/item351.xml"/><Relationship Id="rId449" Type="http://schemas.openxmlformats.org/officeDocument/2006/relationships/customXml" Target="../customXml/item449.xml"/><Relationship Id="rId656" Type="http://schemas.openxmlformats.org/officeDocument/2006/relationships/customXml" Target="../customXml/item656.xml"/><Relationship Id="rId863" Type="http://schemas.openxmlformats.org/officeDocument/2006/relationships/customXml" Target="../customXml/item863.xml"/><Relationship Id="rId1079" Type="http://schemas.openxmlformats.org/officeDocument/2006/relationships/customXml" Target="../customXml/item1079.xml"/><Relationship Id="rId211" Type="http://schemas.openxmlformats.org/officeDocument/2006/relationships/customXml" Target="../customXml/item211.xml"/><Relationship Id="rId295" Type="http://schemas.openxmlformats.org/officeDocument/2006/relationships/customXml" Target="../customXml/item295.xml"/><Relationship Id="rId309" Type="http://schemas.openxmlformats.org/officeDocument/2006/relationships/customXml" Target="../customXml/item309.xml"/><Relationship Id="rId516" Type="http://schemas.openxmlformats.org/officeDocument/2006/relationships/customXml" Target="../customXml/item516.xml"/><Relationship Id="rId1146" Type="http://schemas.openxmlformats.org/officeDocument/2006/relationships/customXml" Target="../customXml/item1146.xml"/><Relationship Id="rId723" Type="http://schemas.openxmlformats.org/officeDocument/2006/relationships/customXml" Target="../customXml/item723.xml"/><Relationship Id="rId930" Type="http://schemas.openxmlformats.org/officeDocument/2006/relationships/customXml" Target="../customXml/item930.xml"/><Relationship Id="rId1006" Type="http://schemas.openxmlformats.org/officeDocument/2006/relationships/customXml" Target="../customXml/item1006.xml"/><Relationship Id="rId155" Type="http://schemas.openxmlformats.org/officeDocument/2006/relationships/customXml" Target="../customXml/item155.xml"/><Relationship Id="rId362" Type="http://schemas.openxmlformats.org/officeDocument/2006/relationships/customXml" Target="../customXml/item362.xml"/><Relationship Id="rId1213" Type="http://schemas.openxmlformats.org/officeDocument/2006/relationships/slideMaster" Target="slideMasters/slideMaster2.xml"/><Relationship Id="rId222" Type="http://schemas.openxmlformats.org/officeDocument/2006/relationships/customXml" Target="../customXml/item222.xml"/><Relationship Id="rId667" Type="http://schemas.openxmlformats.org/officeDocument/2006/relationships/customXml" Target="../customXml/item667.xml"/><Relationship Id="rId874" Type="http://schemas.openxmlformats.org/officeDocument/2006/relationships/customXml" Target="../customXml/item874.xml"/><Relationship Id="rId17" Type="http://schemas.openxmlformats.org/officeDocument/2006/relationships/customXml" Target="../customXml/item17.xml"/><Relationship Id="rId527" Type="http://schemas.openxmlformats.org/officeDocument/2006/relationships/customXml" Target="../customXml/item527.xml"/><Relationship Id="rId734" Type="http://schemas.openxmlformats.org/officeDocument/2006/relationships/customXml" Target="../customXml/item734.xml"/><Relationship Id="rId941" Type="http://schemas.openxmlformats.org/officeDocument/2006/relationships/customXml" Target="../customXml/item941.xml"/><Relationship Id="rId1157" Type="http://schemas.openxmlformats.org/officeDocument/2006/relationships/customXml" Target="../customXml/item1157.xml"/><Relationship Id="rId70" Type="http://schemas.openxmlformats.org/officeDocument/2006/relationships/customXml" Target="../customXml/item70.xml"/><Relationship Id="rId166" Type="http://schemas.openxmlformats.org/officeDocument/2006/relationships/customXml" Target="../customXml/item166.xml"/><Relationship Id="rId373" Type="http://schemas.openxmlformats.org/officeDocument/2006/relationships/customXml" Target="../customXml/item373.xml"/><Relationship Id="rId580" Type="http://schemas.openxmlformats.org/officeDocument/2006/relationships/customXml" Target="../customXml/item580.xml"/><Relationship Id="rId801" Type="http://schemas.openxmlformats.org/officeDocument/2006/relationships/customXml" Target="../customXml/item801.xml"/><Relationship Id="rId1017" Type="http://schemas.openxmlformats.org/officeDocument/2006/relationships/customXml" Target="../customXml/item1017.xml"/><Relationship Id="rId1224" Type="http://schemas.openxmlformats.org/officeDocument/2006/relationships/slide" Target="slides/slide8.xml"/><Relationship Id="rId1" Type="http://schemas.openxmlformats.org/officeDocument/2006/relationships/customXml" Target="../customXml/item1.xml"/><Relationship Id="rId233" Type="http://schemas.openxmlformats.org/officeDocument/2006/relationships/customXml" Target="../customXml/item233.xml"/><Relationship Id="rId440" Type="http://schemas.openxmlformats.org/officeDocument/2006/relationships/customXml" Target="../customXml/item440.xml"/><Relationship Id="rId678" Type="http://schemas.openxmlformats.org/officeDocument/2006/relationships/customXml" Target="../customXml/item678.xml"/><Relationship Id="rId885" Type="http://schemas.openxmlformats.org/officeDocument/2006/relationships/customXml" Target="../customXml/item885.xml"/><Relationship Id="rId1070" Type="http://schemas.openxmlformats.org/officeDocument/2006/relationships/customXml" Target="../customXml/item1070.xml"/><Relationship Id="rId28" Type="http://schemas.openxmlformats.org/officeDocument/2006/relationships/customXml" Target="../customXml/item28.xml"/><Relationship Id="rId300" Type="http://schemas.openxmlformats.org/officeDocument/2006/relationships/customXml" Target="../customXml/item300.xml"/><Relationship Id="rId538" Type="http://schemas.openxmlformats.org/officeDocument/2006/relationships/customXml" Target="../customXml/item538.xml"/><Relationship Id="rId745" Type="http://schemas.openxmlformats.org/officeDocument/2006/relationships/customXml" Target="../customXml/item745.xml"/><Relationship Id="rId952" Type="http://schemas.openxmlformats.org/officeDocument/2006/relationships/customXml" Target="../customXml/item952.xml"/><Relationship Id="rId1168" Type="http://schemas.openxmlformats.org/officeDocument/2006/relationships/customXml" Target="../customXml/item1168.xml"/><Relationship Id="rId81" Type="http://schemas.openxmlformats.org/officeDocument/2006/relationships/customXml" Target="../customXml/item81.xml"/><Relationship Id="rId177" Type="http://schemas.openxmlformats.org/officeDocument/2006/relationships/customXml" Target="../customXml/item177.xml"/><Relationship Id="rId384" Type="http://schemas.openxmlformats.org/officeDocument/2006/relationships/customXml" Target="../customXml/item384.xml"/><Relationship Id="rId591" Type="http://schemas.openxmlformats.org/officeDocument/2006/relationships/customXml" Target="../customXml/item591.xml"/><Relationship Id="rId605" Type="http://schemas.openxmlformats.org/officeDocument/2006/relationships/customXml" Target="../customXml/item605.xml"/><Relationship Id="rId812" Type="http://schemas.openxmlformats.org/officeDocument/2006/relationships/customXml" Target="../customXml/item812.xml"/><Relationship Id="rId1028" Type="http://schemas.openxmlformats.org/officeDocument/2006/relationships/customXml" Target="../customXml/item1028.xml"/><Relationship Id="rId244" Type="http://schemas.openxmlformats.org/officeDocument/2006/relationships/customXml" Target="../customXml/item244.xml"/><Relationship Id="rId689" Type="http://schemas.openxmlformats.org/officeDocument/2006/relationships/customXml" Target="../customXml/item689.xml"/><Relationship Id="rId896" Type="http://schemas.openxmlformats.org/officeDocument/2006/relationships/customXml" Target="../customXml/item896.xml"/><Relationship Id="rId1081" Type="http://schemas.openxmlformats.org/officeDocument/2006/relationships/customXml" Target="../customXml/item1081.xml"/><Relationship Id="rId39" Type="http://schemas.openxmlformats.org/officeDocument/2006/relationships/customXml" Target="../customXml/item39.xml"/><Relationship Id="rId451" Type="http://schemas.openxmlformats.org/officeDocument/2006/relationships/customXml" Target="../customXml/item451.xml"/><Relationship Id="rId549" Type="http://schemas.openxmlformats.org/officeDocument/2006/relationships/customXml" Target="../customXml/item549.xml"/><Relationship Id="rId756" Type="http://schemas.openxmlformats.org/officeDocument/2006/relationships/customXml" Target="../customXml/item756.xml"/><Relationship Id="rId1179" Type="http://schemas.openxmlformats.org/officeDocument/2006/relationships/customXml" Target="../customXml/item1179.xml"/><Relationship Id="rId104" Type="http://schemas.openxmlformats.org/officeDocument/2006/relationships/customXml" Target="../customXml/item104.xml"/><Relationship Id="rId188" Type="http://schemas.openxmlformats.org/officeDocument/2006/relationships/customXml" Target="../customXml/item188.xml"/><Relationship Id="rId311" Type="http://schemas.openxmlformats.org/officeDocument/2006/relationships/customXml" Target="../customXml/item311.xml"/><Relationship Id="rId395" Type="http://schemas.openxmlformats.org/officeDocument/2006/relationships/customXml" Target="../customXml/item395.xml"/><Relationship Id="rId409" Type="http://schemas.openxmlformats.org/officeDocument/2006/relationships/customXml" Target="../customXml/item409.xml"/><Relationship Id="rId963" Type="http://schemas.openxmlformats.org/officeDocument/2006/relationships/customXml" Target="../customXml/item963.xml"/><Relationship Id="rId1039" Type="http://schemas.openxmlformats.org/officeDocument/2006/relationships/customXml" Target="../customXml/item1039.xml"/><Relationship Id="rId92" Type="http://schemas.openxmlformats.org/officeDocument/2006/relationships/customXml" Target="../customXml/item92.xml"/><Relationship Id="rId616" Type="http://schemas.openxmlformats.org/officeDocument/2006/relationships/customXml" Target="../customXml/item616.xml"/><Relationship Id="rId823" Type="http://schemas.openxmlformats.org/officeDocument/2006/relationships/customXml" Target="../customXml/item823.xml"/><Relationship Id="rId255" Type="http://schemas.openxmlformats.org/officeDocument/2006/relationships/customXml" Target="../customXml/item255.xml"/><Relationship Id="rId462" Type="http://schemas.openxmlformats.org/officeDocument/2006/relationships/customXml" Target="../customXml/item462.xml"/><Relationship Id="rId1092" Type="http://schemas.openxmlformats.org/officeDocument/2006/relationships/customXml" Target="../customXml/item1092.xml"/><Relationship Id="rId1106" Type="http://schemas.openxmlformats.org/officeDocument/2006/relationships/customXml" Target="../customXml/item1106.xml"/><Relationship Id="rId115" Type="http://schemas.openxmlformats.org/officeDocument/2006/relationships/customXml" Target="../customXml/item115.xml"/><Relationship Id="rId322" Type="http://schemas.openxmlformats.org/officeDocument/2006/relationships/customXml" Target="../customXml/item322.xml"/><Relationship Id="rId767" Type="http://schemas.openxmlformats.org/officeDocument/2006/relationships/customXml" Target="../customXml/item767.xml"/><Relationship Id="rId974" Type="http://schemas.openxmlformats.org/officeDocument/2006/relationships/customXml" Target="../customXml/item974.xml"/><Relationship Id="rId199" Type="http://schemas.openxmlformats.org/officeDocument/2006/relationships/customXml" Target="../customXml/item199.xml"/><Relationship Id="rId627" Type="http://schemas.openxmlformats.org/officeDocument/2006/relationships/customXml" Target="../customXml/item627.xml"/><Relationship Id="rId834" Type="http://schemas.openxmlformats.org/officeDocument/2006/relationships/customXml" Target="../customXml/item834.xml"/><Relationship Id="rId266" Type="http://schemas.openxmlformats.org/officeDocument/2006/relationships/customXml" Target="../customXml/item266.xml"/><Relationship Id="rId473" Type="http://schemas.openxmlformats.org/officeDocument/2006/relationships/customXml" Target="../customXml/item473.xml"/><Relationship Id="rId680" Type="http://schemas.openxmlformats.org/officeDocument/2006/relationships/customXml" Target="../customXml/item680.xml"/><Relationship Id="rId901" Type="http://schemas.openxmlformats.org/officeDocument/2006/relationships/customXml" Target="../customXml/item901.xml"/><Relationship Id="rId1117" Type="http://schemas.openxmlformats.org/officeDocument/2006/relationships/customXml" Target="../customXml/item1117.xml"/><Relationship Id="rId30" Type="http://schemas.openxmlformats.org/officeDocument/2006/relationships/customXml" Target="../customXml/item30.xml"/><Relationship Id="rId126" Type="http://schemas.openxmlformats.org/officeDocument/2006/relationships/customXml" Target="../customXml/item126.xml"/><Relationship Id="rId333" Type="http://schemas.openxmlformats.org/officeDocument/2006/relationships/customXml" Target="../customXml/item333.xml"/><Relationship Id="rId540" Type="http://schemas.openxmlformats.org/officeDocument/2006/relationships/customXml" Target="../customXml/item540.xml"/><Relationship Id="rId778" Type="http://schemas.openxmlformats.org/officeDocument/2006/relationships/customXml" Target="../customXml/item778.xml"/><Relationship Id="rId985" Type="http://schemas.openxmlformats.org/officeDocument/2006/relationships/customXml" Target="../customXml/item985.xml"/><Relationship Id="rId1170" Type="http://schemas.openxmlformats.org/officeDocument/2006/relationships/customXml" Target="../customXml/item1170.xml"/><Relationship Id="rId638" Type="http://schemas.openxmlformats.org/officeDocument/2006/relationships/customXml" Target="../customXml/item638.xml"/><Relationship Id="rId845" Type="http://schemas.openxmlformats.org/officeDocument/2006/relationships/customXml" Target="../customXml/item845.xml"/><Relationship Id="rId1030" Type="http://schemas.openxmlformats.org/officeDocument/2006/relationships/customXml" Target="../customXml/item1030.xml"/><Relationship Id="rId277" Type="http://schemas.openxmlformats.org/officeDocument/2006/relationships/customXml" Target="../customXml/item277.xml"/><Relationship Id="rId400" Type="http://schemas.openxmlformats.org/officeDocument/2006/relationships/customXml" Target="../customXml/item400.xml"/><Relationship Id="rId484" Type="http://schemas.openxmlformats.org/officeDocument/2006/relationships/customXml" Target="../customXml/item484.xml"/><Relationship Id="rId705" Type="http://schemas.openxmlformats.org/officeDocument/2006/relationships/customXml" Target="../customXml/item705.xml"/><Relationship Id="rId1128" Type="http://schemas.openxmlformats.org/officeDocument/2006/relationships/customXml" Target="../customXml/item1128.xml"/><Relationship Id="rId137" Type="http://schemas.openxmlformats.org/officeDocument/2006/relationships/customXml" Target="../customXml/item137.xml"/><Relationship Id="rId344" Type="http://schemas.openxmlformats.org/officeDocument/2006/relationships/customXml" Target="../customXml/item344.xml"/><Relationship Id="rId691" Type="http://schemas.openxmlformats.org/officeDocument/2006/relationships/customXml" Target="../customXml/item691.xml"/><Relationship Id="rId789" Type="http://schemas.openxmlformats.org/officeDocument/2006/relationships/customXml" Target="../customXml/item789.xml"/><Relationship Id="rId912" Type="http://schemas.openxmlformats.org/officeDocument/2006/relationships/customXml" Target="../customXml/item912.xml"/><Relationship Id="rId996" Type="http://schemas.openxmlformats.org/officeDocument/2006/relationships/customXml" Target="../customXml/item996.xml"/><Relationship Id="rId41" Type="http://schemas.openxmlformats.org/officeDocument/2006/relationships/customXml" Target="../customXml/item41.xml"/><Relationship Id="rId551" Type="http://schemas.openxmlformats.org/officeDocument/2006/relationships/customXml" Target="../customXml/item551.xml"/><Relationship Id="rId649" Type="http://schemas.openxmlformats.org/officeDocument/2006/relationships/customXml" Target="../customXml/item649.xml"/><Relationship Id="rId856" Type="http://schemas.openxmlformats.org/officeDocument/2006/relationships/customXml" Target="../customXml/item856.xml"/><Relationship Id="rId1181" Type="http://schemas.openxmlformats.org/officeDocument/2006/relationships/customXml" Target="../customXml/item1181.xml"/><Relationship Id="rId190" Type="http://schemas.openxmlformats.org/officeDocument/2006/relationships/customXml" Target="../customXml/item190.xml"/><Relationship Id="rId204" Type="http://schemas.openxmlformats.org/officeDocument/2006/relationships/customXml" Target="../customXml/item204.xml"/><Relationship Id="rId288" Type="http://schemas.openxmlformats.org/officeDocument/2006/relationships/customXml" Target="../customXml/item288.xml"/><Relationship Id="rId411" Type="http://schemas.openxmlformats.org/officeDocument/2006/relationships/customXml" Target="../customXml/item411.xml"/><Relationship Id="rId509" Type="http://schemas.openxmlformats.org/officeDocument/2006/relationships/customXml" Target="../customXml/item509.xml"/><Relationship Id="rId1041" Type="http://schemas.openxmlformats.org/officeDocument/2006/relationships/customXml" Target="../customXml/item1041.xml"/><Relationship Id="rId1139" Type="http://schemas.openxmlformats.org/officeDocument/2006/relationships/customXml" Target="../customXml/item1139.xml"/><Relationship Id="rId495" Type="http://schemas.openxmlformats.org/officeDocument/2006/relationships/customXml" Target="../customXml/item495.xml"/><Relationship Id="rId716" Type="http://schemas.openxmlformats.org/officeDocument/2006/relationships/customXml" Target="../customXml/item716.xml"/><Relationship Id="rId923" Type="http://schemas.openxmlformats.org/officeDocument/2006/relationships/customXml" Target="../customXml/item923.xml"/><Relationship Id="rId52" Type="http://schemas.openxmlformats.org/officeDocument/2006/relationships/customXml" Target="../customXml/item52.xml"/><Relationship Id="rId148" Type="http://schemas.openxmlformats.org/officeDocument/2006/relationships/customXml" Target="../customXml/item148.xml"/><Relationship Id="rId355" Type="http://schemas.openxmlformats.org/officeDocument/2006/relationships/customXml" Target="../customXml/item355.xml"/><Relationship Id="rId562" Type="http://schemas.openxmlformats.org/officeDocument/2006/relationships/customXml" Target="../customXml/item562.xml"/><Relationship Id="rId1192" Type="http://schemas.openxmlformats.org/officeDocument/2006/relationships/customXml" Target="../customXml/item1192.xml"/><Relationship Id="rId1206" Type="http://schemas.openxmlformats.org/officeDocument/2006/relationships/customXml" Target="../customXml/item1206.xml"/><Relationship Id="rId215" Type="http://schemas.openxmlformats.org/officeDocument/2006/relationships/customXml" Target="../customXml/item215.xml"/><Relationship Id="rId422" Type="http://schemas.openxmlformats.org/officeDocument/2006/relationships/customXml" Target="../customXml/item422.xml"/><Relationship Id="rId867" Type="http://schemas.openxmlformats.org/officeDocument/2006/relationships/customXml" Target="../customXml/item867.xml"/><Relationship Id="rId1052" Type="http://schemas.openxmlformats.org/officeDocument/2006/relationships/customXml" Target="../customXml/item1052.xml"/><Relationship Id="rId299" Type="http://schemas.openxmlformats.org/officeDocument/2006/relationships/customXml" Target="../customXml/item299.xml"/><Relationship Id="rId727" Type="http://schemas.openxmlformats.org/officeDocument/2006/relationships/customXml" Target="../customXml/item727.xml"/><Relationship Id="rId934" Type="http://schemas.openxmlformats.org/officeDocument/2006/relationships/customXml" Target="../customXml/item934.xml"/><Relationship Id="rId63" Type="http://schemas.openxmlformats.org/officeDocument/2006/relationships/customXml" Target="../customXml/item63.xml"/><Relationship Id="rId159" Type="http://schemas.openxmlformats.org/officeDocument/2006/relationships/customXml" Target="../customXml/item159.xml"/><Relationship Id="rId366" Type="http://schemas.openxmlformats.org/officeDocument/2006/relationships/customXml" Target="../customXml/item366.xml"/><Relationship Id="rId573" Type="http://schemas.openxmlformats.org/officeDocument/2006/relationships/customXml" Target="../customXml/item573.xml"/><Relationship Id="rId780" Type="http://schemas.openxmlformats.org/officeDocument/2006/relationships/customXml" Target="../customXml/item780.xml"/><Relationship Id="rId1217" Type="http://schemas.openxmlformats.org/officeDocument/2006/relationships/slide" Target="slides/slide1.xml"/><Relationship Id="rId226" Type="http://schemas.openxmlformats.org/officeDocument/2006/relationships/customXml" Target="../customXml/item226.xml"/><Relationship Id="rId433" Type="http://schemas.openxmlformats.org/officeDocument/2006/relationships/customXml" Target="../customXml/item433.xml"/><Relationship Id="rId878" Type="http://schemas.openxmlformats.org/officeDocument/2006/relationships/customXml" Target="../customXml/item878.xml"/><Relationship Id="rId1063" Type="http://schemas.openxmlformats.org/officeDocument/2006/relationships/customXml" Target="../customXml/item1063.xml"/><Relationship Id="rId640" Type="http://schemas.openxmlformats.org/officeDocument/2006/relationships/customXml" Target="../customXml/item640.xml"/><Relationship Id="rId738" Type="http://schemas.openxmlformats.org/officeDocument/2006/relationships/customXml" Target="../customXml/item738.xml"/><Relationship Id="rId945" Type="http://schemas.openxmlformats.org/officeDocument/2006/relationships/customXml" Target="../customXml/item945.xml"/><Relationship Id="rId74" Type="http://schemas.openxmlformats.org/officeDocument/2006/relationships/customXml" Target="../customXml/item74.xml"/><Relationship Id="rId377" Type="http://schemas.openxmlformats.org/officeDocument/2006/relationships/customXml" Target="../customXml/item377.xml"/><Relationship Id="rId500" Type="http://schemas.openxmlformats.org/officeDocument/2006/relationships/customXml" Target="../customXml/item500.xml"/><Relationship Id="rId584" Type="http://schemas.openxmlformats.org/officeDocument/2006/relationships/customXml" Target="../customXml/item584.xml"/><Relationship Id="rId805" Type="http://schemas.openxmlformats.org/officeDocument/2006/relationships/customXml" Target="../customXml/item805.xml"/><Relationship Id="rId1130" Type="http://schemas.openxmlformats.org/officeDocument/2006/relationships/customXml" Target="../customXml/item1130.xml"/><Relationship Id="rId1228" Type="http://schemas.openxmlformats.org/officeDocument/2006/relationships/presProps" Target="presProps.xml"/><Relationship Id="rId5" Type="http://schemas.openxmlformats.org/officeDocument/2006/relationships/customXml" Target="../customXml/item5.xml"/><Relationship Id="rId237" Type="http://schemas.openxmlformats.org/officeDocument/2006/relationships/customXml" Target="../customXml/item237.xml"/><Relationship Id="rId791" Type="http://schemas.openxmlformats.org/officeDocument/2006/relationships/customXml" Target="../customXml/item791.xml"/><Relationship Id="rId889" Type="http://schemas.openxmlformats.org/officeDocument/2006/relationships/customXml" Target="../customXml/item889.xml"/><Relationship Id="rId1074" Type="http://schemas.openxmlformats.org/officeDocument/2006/relationships/customXml" Target="../customXml/item1074.xml"/><Relationship Id="rId444" Type="http://schemas.openxmlformats.org/officeDocument/2006/relationships/customXml" Target="../customXml/item444.xml"/><Relationship Id="rId651" Type="http://schemas.openxmlformats.org/officeDocument/2006/relationships/customXml" Target="../customXml/item651.xml"/><Relationship Id="rId749" Type="http://schemas.openxmlformats.org/officeDocument/2006/relationships/customXml" Target="../customXml/item749.xml"/><Relationship Id="rId290" Type="http://schemas.openxmlformats.org/officeDocument/2006/relationships/customXml" Target="../customXml/item290.xml"/><Relationship Id="rId304" Type="http://schemas.openxmlformats.org/officeDocument/2006/relationships/customXml" Target="../customXml/item304.xml"/><Relationship Id="rId388" Type="http://schemas.openxmlformats.org/officeDocument/2006/relationships/customXml" Target="../customXml/item388.xml"/><Relationship Id="rId511" Type="http://schemas.openxmlformats.org/officeDocument/2006/relationships/customXml" Target="../customXml/item511.xml"/><Relationship Id="rId609" Type="http://schemas.openxmlformats.org/officeDocument/2006/relationships/customXml" Target="../customXml/item609.xml"/><Relationship Id="rId956" Type="http://schemas.openxmlformats.org/officeDocument/2006/relationships/customXml" Target="../customXml/item956.xml"/><Relationship Id="rId1141" Type="http://schemas.openxmlformats.org/officeDocument/2006/relationships/customXml" Target="../customXml/item1141.xml"/><Relationship Id="rId85" Type="http://schemas.openxmlformats.org/officeDocument/2006/relationships/customXml" Target="../customXml/item85.xml"/><Relationship Id="rId150" Type="http://schemas.openxmlformats.org/officeDocument/2006/relationships/customXml" Target="../customXml/item150.xml"/><Relationship Id="rId595" Type="http://schemas.openxmlformats.org/officeDocument/2006/relationships/customXml" Target="../customXml/item595.xml"/><Relationship Id="rId816" Type="http://schemas.openxmlformats.org/officeDocument/2006/relationships/customXml" Target="../customXml/item816.xml"/><Relationship Id="rId1001" Type="http://schemas.openxmlformats.org/officeDocument/2006/relationships/customXml" Target="../customXml/item1001.xml"/><Relationship Id="rId248" Type="http://schemas.openxmlformats.org/officeDocument/2006/relationships/customXml" Target="../customXml/item248.xml"/><Relationship Id="rId455" Type="http://schemas.openxmlformats.org/officeDocument/2006/relationships/customXml" Target="../customXml/item455.xml"/><Relationship Id="rId662" Type="http://schemas.openxmlformats.org/officeDocument/2006/relationships/customXml" Target="../customXml/item662.xml"/><Relationship Id="rId1085" Type="http://schemas.openxmlformats.org/officeDocument/2006/relationships/customXml" Target="../customXml/item1085.xml"/><Relationship Id="rId12" Type="http://schemas.openxmlformats.org/officeDocument/2006/relationships/customXml" Target="../customXml/item12.xml"/><Relationship Id="rId108" Type="http://schemas.openxmlformats.org/officeDocument/2006/relationships/customXml" Target="../customXml/item108.xml"/><Relationship Id="rId315" Type="http://schemas.openxmlformats.org/officeDocument/2006/relationships/customXml" Target="../customXml/item315.xml"/><Relationship Id="rId522" Type="http://schemas.openxmlformats.org/officeDocument/2006/relationships/customXml" Target="../customXml/item522.xml"/><Relationship Id="rId967" Type="http://schemas.openxmlformats.org/officeDocument/2006/relationships/customXml" Target="../customXml/item967.xml"/><Relationship Id="rId1152" Type="http://schemas.openxmlformats.org/officeDocument/2006/relationships/customXml" Target="../customXml/item1152.xml"/><Relationship Id="rId96" Type="http://schemas.openxmlformats.org/officeDocument/2006/relationships/customXml" Target="../customXml/item96.xml"/><Relationship Id="rId161" Type="http://schemas.openxmlformats.org/officeDocument/2006/relationships/customXml" Target="../customXml/item161.xml"/><Relationship Id="rId399" Type="http://schemas.openxmlformats.org/officeDocument/2006/relationships/customXml" Target="../customXml/item399.xml"/><Relationship Id="rId827" Type="http://schemas.openxmlformats.org/officeDocument/2006/relationships/customXml" Target="../customXml/item827.xml"/><Relationship Id="rId1012" Type="http://schemas.openxmlformats.org/officeDocument/2006/relationships/customXml" Target="../customXml/item1012.xml"/><Relationship Id="rId259" Type="http://schemas.openxmlformats.org/officeDocument/2006/relationships/customXml" Target="../customXml/item259.xml"/><Relationship Id="rId466" Type="http://schemas.openxmlformats.org/officeDocument/2006/relationships/customXml" Target="../customXml/item466.xml"/><Relationship Id="rId673" Type="http://schemas.openxmlformats.org/officeDocument/2006/relationships/customXml" Target="../customXml/item673.xml"/><Relationship Id="rId880" Type="http://schemas.openxmlformats.org/officeDocument/2006/relationships/customXml" Target="../customXml/item880.xml"/><Relationship Id="rId1096" Type="http://schemas.openxmlformats.org/officeDocument/2006/relationships/customXml" Target="../customXml/item1096.xml"/><Relationship Id="rId23" Type="http://schemas.openxmlformats.org/officeDocument/2006/relationships/customXml" Target="../customXml/item23.xml"/><Relationship Id="rId119" Type="http://schemas.openxmlformats.org/officeDocument/2006/relationships/customXml" Target="../customXml/item119.xml"/><Relationship Id="rId326" Type="http://schemas.openxmlformats.org/officeDocument/2006/relationships/customXml" Target="../customXml/item326.xml"/><Relationship Id="rId533" Type="http://schemas.openxmlformats.org/officeDocument/2006/relationships/customXml" Target="../customXml/item533.xml"/><Relationship Id="rId978" Type="http://schemas.openxmlformats.org/officeDocument/2006/relationships/customXml" Target="../customXml/item978.xml"/><Relationship Id="rId1163" Type="http://schemas.openxmlformats.org/officeDocument/2006/relationships/customXml" Target="../customXml/item1163.xml"/><Relationship Id="rId740" Type="http://schemas.openxmlformats.org/officeDocument/2006/relationships/customXml" Target="../customXml/item740.xml"/><Relationship Id="rId838" Type="http://schemas.openxmlformats.org/officeDocument/2006/relationships/customXml" Target="../customXml/item838.xml"/><Relationship Id="rId1023" Type="http://schemas.openxmlformats.org/officeDocument/2006/relationships/customXml" Target="../customXml/item1023.xml"/><Relationship Id="rId172" Type="http://schemas.openxmlformats.org/officeDocument/2006/relationships/customXml" Target="../customXml/item172.xml"/><Relationship Id="rId477" Type="http://schemas.openxmlformats.org/officeDocument/2006/relationships/customXml" Target="../customXml/item477.xml"/><Relationship Id="rId600" Type="http://schemas.openxmlformats.org/officeDocument/2006/relationships/customXml" Target="../customXml/item600.xml"/><Relationship Id="rId684" Type="http://schemas.openxmlformats.org/officeDocument/2006/relationships/customXml" Target="../customXml/item684.xml"/><Relationship Id="rId1230" Type="http://schemas.openxmlformats.org/officeDocument/2006/relationships/theme" Target="theme/theme1.xml"/><Relationship Id="rId337" Type="http://schemas.openxmlformats.org/officeDocument/2006/relationships/customXml" Target="../customXml/item337.xml"/><Relationship Id="rId891" Type="http://schemas.openxmlformats.org/officeDocument/2006/relationships/customXml" Target="../customXml/item891.xml"/><Relationship Id="rId905" Type="http://schemas.openxmlformats.org/officeDocument/2006/relationships/customXml" Target="../customXml/item905.xml"/><Relationship Id="rId989" Type="http://schemas.openxmlformats.org/officeDocument/2006/relationships/customXml" Target="../customXml/item989.xml"/><Relationship Id="rId34" Type="http://schemas.openxmlformats.org/officeDocument/2006/relationships/customXml" Target="../customXml/item34.xml"/><Relationship Id="rId544" Type="http://schemas.openxmlformats.org/officeDocument/2006/relationships/customXml" Target="../customXml/item544.xml"/><Relationship Id="rId751" Type="http://schemas.openxmlformats.org/officeDocument/2006/relationships/customXml" Target="../customXml/item751.xml"/><Relationship Id="rId849" Type="http://schemas.openxmlformats.org/officeDocument/2006/relationships/customXml" Target="../customXml/item849.xml"/><Relationship Id="rId1174" Type="http://schemas.openxmlformats.org/officeDocument/2006/relationships/customXml" Target="../customXml/item1174.xml"/><Relationship Id="rId183" Type="http://schemas.openxmlformats.org/officeDocument/2006/relationships/customXml" Target="../customXml/item183.xml"/><Relationship Id="rId390" Type="http://schemas.openxmlformats.org/officeDocument/2006/relationships/customXml" Target="../customXml/item390.xml"/><Relationship Id="rId404" Type="http://schemas.openxmlformats.org/officeDocument/2006/relationships/customXml" Target="../customXml/item404.xml"/><Relationship Id="rId611" Type="http://schemas.openxmlformats.org/officeDocument/2006/relationships/customXml" Target="../customXml/item611.xml"/><Relationship Id="rId1034" Type="http://schemas.openxmlformats.org/officeDocument/2006/relationships/customXml" Target="../customXml/item1034.xml"/><Relationship Id="rId250" Type="http://schemas.openxmlformats.org/officeDocument/2006/relationships/customXml" Target="../customXml/item250.xml"/><Relationship Id="rId488" Type="http://schemas.openxmlformats.org/officeDocument/2006/relationships/customXml" Target="../customXml/item488.xml"/><Relationship Id="rId695" Type="http://schemas.openxmlformats.org/officeDocument/2006/relationships/customXml" Target="../customXml/item695.xml"/><Relationship Id="rId709" Type="http://schemas.openxmlformats.org/officeDocument/2006/relationships/customXml" Target="../customXml/item709.xml"/><Relationship Id="rId916" Type="http://schemas.openxmlformats.org/officeDocument/2006/relationships/customXml" Target="../customXml/item916.xml"/><Relationship Id="rId1101" Type="http://schemas.openxmlformats.org/officeDocument/2006/relationships/customXml" Target="../customXml/item1101.xml"/><Relationship Id="rId45" Type="http://schemas.openxmlformats.org/officeDocument/2006/relationships/customXml" Target="../customXml/item45.xml"/><Relationship Id="rId110" Type="http://schemas.openxmlformats.org/officeDocument/2006/relationships/customXml" Target="../customXml/item110.xml"/><Relationship Id="rId348" Type="http://schemas.openxmlformats.org/officeDocument/2006/relationships/customXml" Target="../customXml/item348.xml"/><Relationship Id="rId555" Type="http://schemas.openxmlformats.org/officeDocument/2006/relationships/customXml" Target="../customXml/item555.xml"/><Relationship Id="rId762" Type="http://schemas.openxmlformats.org/officeDocument/2006/relationships/customXml" Target="../customXml/item762.xml"/><Relationship Id="rId1185" Type="http://schemas.openxmlformats.org/officeDocument/2006/relationships/customXml" Target="../customXml/item1185.xml"/><Relationship Id="rId194" Type="http://schemas.openxmlformats.org/officeDocument/2006/relationships/customXml" Target="../customXml/item194.xml"/><Relationship Id="rId208" Type="http://schemas.openxmlformats.org/officeDocument/2006/relationships/customXml" Target="../customXml/item208.xml"/><Relationship Id="rId415" Type="http://schemas.openxmlformats.org/officeDocument/2006/relationships/customXml" Target="../customXml/item415.xml"/><Relationship Id="rId622" Type="http://schemas.openxmlformats.org/officeDocument/2006/relationships/customXml" Target="../customXml/item622.xml"/><Relationship Id="rId1045" Type="http://schemas.openxmlformats.org/officeDocument/2006/relationships/customXml" Target="../customXml/item1045.xml"/><Relationship Id="rId261" Type="http://schemas.openxmlformats.org/officeDocument/2006/relationships/customXml" Target="../customXml/item261.xml"/><Relationship Id="rId499" Type="http://schemas.openxmlformats.org/officeDocument/2006/relationships/customXml" Target="../customXml/item499.xml"/><Relationship Id="rId927" Type="http://schemas.openxmlformats.org/officeDocument/2006/relationships/customXml" Target="../customXml/item927.xml"/><Relationship Id="rId1112" Type="http://schemas.openxmlformats.org/officeDocument/2006/relationships/customXml" Target="../customXml/item1112.xml"/><Relationship Id="rId56" Type="http://schemas.openxmlformats.org/officeDocument/2006/relationships/customXml" Target="../customXml/item56.xml"/><Relationship Id="rId359" Type="http://schemas.openxmlformats.org/officeDocument/2006/relationships/customXml" Target="../customXml/item359.xml"/><Relationship Id="rId566" Type="http://schemas.openxmlformats.org/officeDocument/2006/relationships/customXml" Target="../customXml/item566.xml"/><Relationship Id="rId773" Type="http://schemas.openxmlformats.org/officeDocument/2006/relationships/customXml" Target="../customXml/item773.xml"/><Relationship Id="rId1196" Type="http://schemas.openxmlformats.org/officeDocument/2006/relationships/customXml" Target="../customXml/item1196.xml"/><Relationship Id="rId121" Type="http://schemas.openxmlformats.org/officeDocument/2006/relationships/customXml" Target="../customXml/item121.xml"/><Relationship Id="rId219" Type="http://schemas.openxmlformats.org/officeDocument/2006/relationships/customXml" Target="../customXml/item219.xml"/><Relationship Id="rId426" Type="http://schemas.openxmlformats.org/officeDocument/2006/relationships/customXml" Target="../customXml/item426.xml"/><Relationship Id="rId633" Type="http://schemas.openxmlformats.org/officeDocument/2006/relationships/customXml" Target="../customXml/item633.xml"/><Relationship Id="rId980" Type="http://schemas.openxmlformats.org/officeDocument/2006/relationships/customXml" Target="../customXml/item980.xml"/><Relationship Id="rId1056" Type="http://schemas.openxmlformats.org/officeDocument/2006/relationships/customXml" Target="../customXml/item1056.xml"/><Relationship Id="rId840" Type="http://schemas.openxmlformats.org/officeDocument/2006/relationships/customXml" Target="../customXml/item840.xml"/><Relationship Id="rId938" Type="http://schemas.openxmlformats.org/officeDocument/2006/relationships/customXml" Target="../customXml/item938.xml"/><Relationship Id="rId67" Type="http://schemas.openxmlformats.org/officeDocument/2006/relationships/customXml" Target="../customXml/item67.xml"/><Relationship Id="rId272" Type="http://schemas.openxmlformats.org/officeDocument/2006/relationships/customXml" Target="../customXml/item272.xml"/><Relationship Id="rId577" Type="http://schemas.openxmlformats.org/officeDocument/2006/relationships/customXml" Target="../customXml/item577.xml"/><Relationship Id="rId700" Type="http://schemas.openxmlformats.org/officeDocument/2006/relationships/customXml" Target="../customXml/item700.xml"/><Relationship Id="rId1123" Type="http://schemas.openxmlformats.org/officeDocument/2006/relationships/customXml" Target="../customXml/item1123.xml"/><Relationship Id="rId132" Type="http://schemas.openxmlformats.org/officeDocument/2006/relationships/customXml" Target="../customXml/item132.xml"/><Relationship Id="rId784" Type="http://schemas.openxmlformats.org/officeDocument/2006/relationships/customXml" Target="../customXml/item784.xml"/><Relationship Id="rId991" Type="http://schemas.openxmlformats.org/officeDocument/2006/relationships/customXml" Target="../customXml/item991.xml"/><Relationship Id="rId1067" Type="http://schemas.openxmlformats.org/officeDocument/2006/relationships/customXml" Target="../customXml/item1067.xml"/><Relationship Id="rId437" Type="http://schemas.openxmlformats.org/officeDocument/2006/relationships/customXml" Target="../customXml/item437.xml"/><Relationship Id="rId644" Type="http://schemas.openxmlformats.org/officeDocument/2006/relationships/customXml" Target="../customXml/item644.xml"/><Relationship Id="rId851" Type="http://schemas.openxmlformats.org/officeDocument/2006/relationships/customXml" Target="../customXml/item851.xml"/><Relationship Id="rId283" Type="http://schemas.openxmlformats.org/officeDocument/2006/relationships/customXml" Target="../customXml/item283.xml"/><Relationship Id="rId490" Type="http://schemas.openxmlformats.org/officeDocument/2006/relationships/customXml" Target="../customXml/item490.xml"/><Relationship Id="rId504" Type="http://schemas.openxmlformats.org/officeDocument/2006/relationships/customXml" Target="../customXml/item504.xml"/><Relationship Id="rId711" Type="http://schemas.openxmlformats.org/officeDocument/2006/relationships/customXml" Target="../customXml/item711.xml"/><Relationship Id="rId949" Type="http://schemas.openxmlformats.org/officeDocument/2006/relationships/customXml" Target="../customXml/item949.xml"/><Relationship Id="rId1134" Type="http://schemas.openxmlformats.org/officeDocument/2006/relationships/customXml" Target="../customXml/item1134.xml"/><Relationship Id="rId78" Type="http://schemas.openxmlformats.org/officeDocument/2006/relationships/customXml" Target="../customXml/item78.xml"/><Relationship Id="rId143" Type="http://schemas.openxmlformats.org/officeDocument/2006/relationships/customXml" Target="../customXml/item143.xml"/><Relationship Id="rId350" Type="http://schemas.openxmlformats.org/officeDocument/2006/relationships/customXml" Target="../customXml/item350.xml"/><Relationship Id="rId588" Type="http://schemas.openxmlformats.org/officeDocument/2006/relationships/customXml" Target="../customXml/item588.xml"/><Relationship Id="rId795" Type="http://schemas.openxmlformats.org/officeDocument/2006/relationships/customXml" Target="../customXml/item795.xml"/><Relationship Id="rId809" Type="http://schemas.openxmlformats.org/officeDocument/2006/relationships/customXml" Target="../customXml/item809.xml"/><Relationship Id="rId1201" Type="http://schemas.openxmlformats.org/officeDocument/2006/relationships/customXml" Target="../customXml/item1201.xml"/><Relationship Id="rId9" Type="http://schemas.openxmlformats.org/officeDocument/2006/relationships/customXml" Target="../customXml/item9.xml"/><Relationship Id="rId210" Type="http://schemas.openxmlformats.org/officeDocument/2006/relationships/customXml" Target="../customXml/item210.xml"/><Relationship Id="rId448" Type="http://schemas.openxmlformats.org/officeDocument/2006/relationships/customXml" Target="../customXml/item448.xml"/><Relationship Id="rId655" Type="http://schemas.openxmlformats.org/officeDocument/2006/relationships/customXml" Target="../customXml/item655.xml"/><Relationship Id="rId862" Type="http://schemas.openxmlformats.org/officeDocument/2006/relationships/customXml" Target="../customXml/item862.xml"/><Relationship Id="rId1078" Type="http://schemas.openxmlformats.org/officeDocument/2006/relationships/customXml" Target="../customXml/item1078.xml"/><Relationship Id="rId294" Type="http://schemas.openxmlformats.org/officeDocument/2006/relationships/customXml" Target="../customXml/item294.xml"/><Relationship Id="rId308" Type="http://schemas.openxmlformats.org/officeDocument/2006/relationships/customXml" Target="../customXml/item308.xml"/><Relationship Id="rId515" Type="http://schemas.openxmlformats.org/officeDocument/2006/relationships/customXml" Target="../customXml/item515.xml"/><Relationship Id="rId722" Type="http://schemas.openxmlformats.org/officeDocument/2006/relationships/customXml" Target="../customXml/item722.xml"/><Relationship Id="rId1145" Type="http://schemas.openxmlformats.org/officeDocument/2006/relationships/customXml" Target="../customXml/item1145.xml"/><Relationship Id="rId89" Type="http://schemas.openxmlformats.org/officeDocument/2006/relationships/customXml" Target="../customXml/item89.xml"/><Relationship Id="rId154" Type="http://schemas.openxmlformats.org/officeDocument/2006/relationships/customXml" Target="../customXml/item154.xml"/><Relationship Id="rId361" Type="http://schemas.openxmlformats.org/officeDocument/2006/relationships/customXml" Target="../customXml/item361.xml"/><Relationship Id="rId599" Type="http://schemas.openxmlformats.org/officeDocument/2006/relationships/customXml" Target="../customXml/item599.xml"/><Relationship Id="rId1005" Type="http://schemas.openxmlformats.org/officeDocument/2006/relationships/customXml" Target="../customXml/item1005.xml"/><Relationship Id="rId1212" Type="http://schemas.openxmlformats.org/officeDocument/2006/relationships/slideMaster" Target="slideMasters/slideMaster1.xml"/><Relationship Id="rId459" Type="http://schemas.openxmlformats.org/officeDocument/2006/relationships/customXml" Target="../customXml/item459.xml"/><Relationship Id="rId666" Type="http://schemas.openxmlformats.org/officeDocument/2006/relationships/customXml" Target="../customXml/item666.xml"/><Relationship Id="rId873" Type="http://schemas.openxmlformats.org/officeDocument/2006/relationships/customXml" Target="../customXml/item873.xml"/><Relationship Id="rId1089" Type="http://schemas.openxmlformats.org/officeDocument/2006/relationships/customXml" Target="../customXml/item1089.xml"/><Relationship Id="rId16" Type="http://schemas.openxmlformats.org/officeDocument/2006/relationships/customXml" Target="../customXml/item16.xml"/><Relationship Id="rId221" Type="http://schemas.openxmlformats.org/officeDocument/2006/relationships/customXml" Target="../customXml/item221.xml"/><Relationship Id="rId319" Type="http://schemas.openxmlformats.org/officeDocument/2006/relationships/customXml" Target="../customXml/item319.xml"/><Relationship Id="rId526" Type="http://schemas.openxmlformats.org/officeDocument/2006/relationships/customXml" Target="../customXml/item526.xml"/><Relationship Id="rId1156" Type="http://schemas.openxmlformats.org/officeDocument/2006/relationships/customXml" Target="../customXml/item1156.xml"/><Relationship Id="rId733" Type="http://schemas.openxmlformats.org/officeDocument/2006/relationships/customXml" Target="../customXml/item733.xml"/><Relationship Id="rId940" Type="http://schemas.openxmlformats.org/officeDocument/2006/relationships/customXml" Target="../customXml/item940.xml"/><Relationship Id="rId1016" Type="http://schemas.openxmlformats.org/officeDocument/2006/relationships/customXml" Target="../customXml/item1016.xml"/><Relationship Id="rId165" Type="http://schemas.openxmlformats.org/officeDocument/2006/relationships/customXml" Target="../customXml/item165.xml"/><Relationship Id="rId372" Type="http://schemas.openxmlformats.org/officeDocument/2006/relationships/customXml" Target="../customXml/item372.xml"/><Relationship Id="rId677" Type="http://schemas.openxmlformats.org/officeDocument/2006/relationships/customXml" Target="../customXml/item677.xml"/><Relationship Id="rId800" Type="http://schemas.openxmlformats.org/officeDocument/2006/relationships/customXml" Target="../customXml/item800.xml"/><Relationship Id="rId1223" Type="http://schemas.openxmlformats.org/officeDocument/2006/relationships/slide" Target="slides/slide7.xml"/><Relationship Id="rId232" Type="http://schemas.openxmlformats.org/officeDocument/2006/relationships/customXml" Target="../customXml/item232.xml"/><Relationship Id="rId884" Type="http://schemas.openxmlformats.org/officeDocument/2006/relationships/customXml" Target="../customXml/item884.xml"/><Relationship Id="rId27" Type="http://schemas.openxmlformats.org/officeDocument/2006/relationships/customXml" Target="../customXml/item27.xml"/><Relationship Id="rId537" Type="http://schemas.openxmlformats.org/officeDocument/2006/relationships/customXml" Target="../customXml/item537.xml"/><Relationship Id="rId744" Type="http://schemas.openxmlformats.org/officeDocument/2006/relationships/customXml" Target="../customXml/item744.xml"/><Relationship Id="rId951" Type="http://schemas.openxmlformats.org/officeDocument/2006/relationships/customXml" Target="../customXml/item951.xml"/><Relationship Id="rId1167" Type="http://schemas.openxmlformats.org/officeDocument/2006/relationships/customXml" Target="../customXml/item1167.xml"/><Relationship Id="rId80" Type="http://schemas.openxmlformats.org/officeDocument/2006/relationships/customXml" Target="../customXml/item80.xml"/><Relationship Id="rId176" Type="http://schemas.openxmlformats.org/officeDocument/2006/relationships/customXml" Target="../customXml/item176.xml"/><Relationship Id="rId383" Type="http://schemas.openxmlformats.org/officeDocument/2006/relationships/customXml" Target="../customXml/item383.xml"/><Relationship Id="rId590" Type="http://schemas.openxmlformats.org/officeDocument/2006/relationships/customXml" Target="../customXml/item590.xml"/><Relationship Id="rId604" Type="http://schemas.openxmlformats.org/officeDocument/2006/relationships/customXml" Target="../customXml/item604.xml"/><Relationship Id="rId811" Type="http://schemas.openxmlformats.org/officeDocument/2006/relationships/customXml" Target="../customXml/item811.xml"/><Relationship Id="rId1027" Type="http://schemas.openxmlformats.org/officeDocument/2006/relationships/customXml" Target="../customXml/item1027.xml"/><Relationship Id="rId243" Type="http://schemas.openxmlformats.org/officeDocument/2006/relationships/customXml" Target="../customXml/item243.xml"/><Relationship Id="rId450" Type="http://schemas.openxmlformats.org/officeDocument/2006/relationships/customXml" Target="../customXml/item450.xml"/><Relationship Id="rId688" Type="http://schemas.openxmlformats.org/officeDocument/2006/relationships/customXml" Target="../customXml/item688.xml"/><Relationship Id="rId895" Type="http://schemas.openxmlformats.org/officeDocument/2006/relationships/customXml" Target="../customXml/item895.xml"/><Relationship Id="rId909" Type="http://schemas.openxmlformats.org/officeDocument/2006/relationships/customXml" Target="../customXml/item909.xml"/><Relationship Id="rId1080" Type="http://schemas.openxmlformats.org/officeDocument/2006/relationships/customXml" Target="../customXml/item1080.xml"/><Relationship Id="rId38" Type="http://schemas.openxmlformats.org/officeDocument/2006/relationships/customXml" Target="../customXml/item38.xml"/><Relationship Id="rId103" Type="http://schemas.openxmlformats.org/officeDocument/2006/relationships/customXml" Target="../customXml/item103.xml"/><Relationship Id="rId310" Type="http://schemas.openxmlformats.org/officeDocument/2006/relationships/customXml" Target="../customXml/item310.xml"/><Relationship Id="rId548" Type="http://schemas.openxmlformats.org/officeDocument/2006/relationships/customXml" Target="../customXml/item548.xml"/><Relationship Id="rId755" Type="http://schemas.openxmlformats.org/officeDocument/2006/relationships/customXml" Target="../customXml/item755.xml"/><Relationship Id="rId962" Type="http://schemas.openxmlformats.org/officeDocument/2006/relationships/customXml" Target="../customXml/item962.xml"/><Relationship Id="rId1178" Type="http://schemas.openxmlformats.org/officeDocument/2006/relationships/customXml" Target="../customXml/item1178.xml"/><Relationship Id="rId91" Type="http://schemas.openxmlformats.org/officeDocument/2006/relationships/customXml" Target="../customXml/item91.xml"/><Relationship Id="rId187" Type="http://schemas.openxmlformats.org/officeDocument/2006/relationships/customXml" Target="../customXml/item187.xml"/><Relationship Id="rId394" Type="http://schemas.openxmlformats.org/officeDocument/2006/relationships/customXml" Target="../customXml/item394.xml"/><Relationship Id="rId408" Type="http://schemas.openxmlformats.org/officeDocument/2006/relationships/customXml" Target="../customXml/item408.xml"/><Relationship Id="rId615" Type="http://schemas.openxmlformats.org/officeDocument/2006/relationships/customXml" Target="../customXml/item615.xml"/><Relationship Id="rId822" Type="http://schemas.openxmlformats.org/officeDocument/2006/relationships/customXml" Target="../customXml/item822.xml"/><Relationship Id="rId1038" Type="http://schemas.openxmlformats.org/officeDocument/2006/relationships/customXml" Target="../customXml/item1038.xml"/><Relationship Id="rId254" Type="http://schemas.openxmlformats.org/officeDocument/2006/relationships/customXml" Target="../customXml/item254.xml"/><Relationship Id="rId699" Type="http://schemas.openxmlformats.org/officeDocument/2006/relationships/customXml" Target="../customXml/item699.xml"/><Relationship Id="rId1091" Type="http://schemas.openxmlformats.org/officeDocument/2006/relationships/customXml" Target="../customXml/item1091.xml"/><Relationship Id="rId1105" Type="http://schemas.openxmlformats.org/officeDocument/2006/relationships/customXml" Target="../customXml/item1105.xml"/><Relationship Id="rId49" Type="http://schemas.openxmlformats.org/officeDocument/2006/relationships/customXml" Target="../customXml/item49.xml"/><Relationship Id="rId114" Type="http://schemas.openxmlformats.org/officeDocument/2006/relationships/customXml" Target="../customXml/item114.xml"/><Relationship Id="rId461" Type="http://schemas.openxmlformats.org/officeDocument/2006/relationships/customXml" Target="../customXml/item461.xml"/><Relationship Id="rId559" Type="http://schemas.openxmlformats.org/officeDocument/2006/relationships/customXml" Target="../customXml/item559.xml"/><Relationship Id="rId766" Type="http://schemas.openxmlformats.org/officeDocument/2006/relationships/customXml" Target="../customXml/item766.xml"/><Relationship Id="rId1189" Type="http://schemas.openxmlformats.org/officeDocument/2006/relationships/customXml" Target="../customXml/item1189.xml"/><Relationship Id="rId198" Type="http://schemas.openxmlformats.org/officeDocument/2006/relationships/customXml" Target="../customXml/item198.xml"/><Relationship Id="rId321" Type="http://schemas.openxmlformats.org/officeDocument/2006/relationships/customXml" Target="../customXml/item321.xml"/><Relationship Id="rId419" Type="http://schemas.openxmlformats.org/officeDocument/2006/relationships/customXml" Target="../customXml/item419.xml"/><Relationship Id="rId626" Type="http://schemas.openxmlformats.org/officeDocument/2006/relationships/customXml" Target="../customXml/item626.xml"/><Relationship Id="rId973" Type="http://schemas.openxmlformats.org/officeDocument/2006/relationships/customXml" Target="../customXml/item973.xml"/><Relationship Id="rId1049" Type="http://schemas.openxmlformats.org/officeDocument/2006/relationships/customXml" Target="../customXml/item1049.xml"/><Relationship Id="rId833" Type="http://schemas.openxmlformats.org/officeDocument/2006/relationships/customXml" Target="../customXml/item833.xml"/><Relationship Id="rId1116" Type="http://schemas.openxmlformats.org/officeDocument/2006/relationships/customXml" Target="../customXml/item1116.xml"/><Relationship Id="rId265" Type="http://schemas.openxmlformats.org/officeDocument/2006/relationships/customXml" Target="../customXml/item265.xml"/><Relationship Id="rId472" Type="http://schemas.openxmlformats.org/officeDocument/2006/relationships/customXml" Target="../customXml/item472.xml"/><Relationship Id="rId900" Type="http://schemas.openxmlformats.org/officeDocument/2006/relationships/customXml" Target="../customXml/item900.xml"/><Relationship Id="rId125" Type="http://schemas.openxmlformats.org/officeDocument/2006/relationships/customXml" Target="../customXml/item125.xml"/><Relationship Id="rId332" Type="http://schemas.openxmlformats.org/officeDocument/2006/relationships/customXml" Target="../customXml/item332.xml"/><Relationship Id="rId777" Type="http://schemas.openxmlformats.org/officeDocument/2006/relationships/customXml" Target="../customXml/item777.xml"/><Relationship Id="rId984" Type="http://schemas.openxmlformats.org/officeDocument/2006/relationships/customXml" Target="../customXml/item984.xml"/><Relationship Id="rId637" Type="http://schemas.openxmlformats.org/officeDocument/2006/relationships/customXml" Target="../customXml/item637.xml"/><Relationship Id="rId844" Type="http://schemas.openxmlformats.org/officeDocument/2006/relationships/customXml" Target="../customXml/item844.xml"/><Relationship Id="rId276" Type="http://schemas.openxmlformats.org/officeDocument/2006/relationships/customXml" Target="../customXml/item276.xml"/><Relationship Id="rId483" Type="http://schemas.openxmlformats.org/officeDocument/2006/relationships/customXml" Target="../customXml/item483.xml"/><Relationship Id="rId690" Type="http://schemas.openxmlformats.org/officeDocument/2006/relationships/customXml" Target="../customXml/item690.xml"/><Relationship Id="rId704" Type="http://schemas.openxmlformats.org/officeDocument/2006/relationships/customXml" Target="../customXml/item704.xml"/><Relationship Id="rId911" Type="http://schemas.openxmlformats.org/officeDocument/2006/relationships/customXml" Target="../customXml/item911.xml"/><Relationship Id="rId1127" Type="http://schemas.openxmlformats.org/officeDocument/2006/relationships/customXml" Target="../customXml/item1127.xml"/><Relationship Id="rId40" Type="http://schemas.openxmlformats.org/officeDocument/2006/relationships/customXml" Target="../customXml/item40.xml"/><Relationship Id="rId136" Type="http://schemas.openxmlformats.org/officeDocument/2006/relationships/customXml" Target="../customXml/item136.xml"/><Relationship Id="rId343" Type="http://schemas.openxmlformats.org/officeDocument/2006/relationships/customXml" Target="../customXml/item343.xml"/><Relationship Id="rId550" Type="http://schemas.openxmlformats.org/officeDocument/2006/relationships/customXml" Target="../customXml/item550.xml"/><Relationship Id="rId788" Type="http://schemas.openxmlformats.org/officeDocument/2006/relationships/customXml" Target="../customXml/item788.xml"/><Relationship Id="rId995" Type="http://schemas.openxmlformats.org/officeDocument/2006/relationships/customXml" Target="../customXml/item995.xml"/><Relationship Id="rId1180" Type="http://schemas.openxmlformats.org/officeDocument/2006/relationships/customXml" Target="../customXml/item1180.xml"/><Relationship Id="rId203" Type="http://schemas.openxmlformats.org/officeDocument/2006/relationships/customXml" Target="../customXml/item203.xml"/><Relationship Id="rId648" Type="http://schemas.openxmlformats.org/officeDocument/2006/relationships/customXml" Target="../customXml/item648.xml"/><Relationship Id="rId855" Type="http://schemas.openxmlformats.org/officeDocument/2006/relationships/customXml" Target="../customXml/item855.xml"/><Relationship Id="rId1040" Type="http://schemas.openxmlformats.org/officeDocument/2006/relationships/customXml" Target="../customXml/item1040.xml"/><Relationship Id="rId287" Type="http://schemas.openxmlformats.org/officeDocument/2006/relationships/customXml" Target="../customXml/item287.xml"/><Relationship Id="rId410" Type="http://schemas.openxmlformats.org/officeDocument/2006/relationships/customXml" Target="../customXml/item410.xml"/><Relationship Id="rId494" Type="http://schemas.openxmlformats.org/officeDocument/2006/relationships/customXml" Target="../customXml/item494.xml"/><Relationship Id="rId508" Type="http://schemas.openxmlformats.org/officeDocument/2006/relationships/customXml" Target="../customXml/item508.xml"/><Relationship Id="rId715" Type="http://schemas.openxmlformats.org/officeDocument/2006/relationships/customXml" Target="../customXml/item715.xml"/><Relationship Id="rId922" Type="http://schemas.openxmlformats.org/officeDocument/2006/relationships/customXml" Target="../customXml/item922.xml"/><Relationship Id="rId1138" Type="http://schemas.openxmlformats.org/officeDocument/2006/relationships/customXml" Target="../customXml/item1138.xml"/><Relationship Id="rId147" Type="http://schemas.openxmlformats.org/officeDocument/2006/relationships/customXml" Target="../customXml/item147.xml"/><Relationship Id="rId354" Type="http://schemas.openxmlformats.org/officeDocument/2006/relationships/customXml" Target="../customXml/item354.xml"/><Relationship Id="rId799" Type="http://schemas.openxmlformats.org/officeDocument/2006/relationships/customXml" Target="../customXml/item799.xml"/><Relationship Id="rId1191" Type="http://schemas.openxmlformats.org/officeDocument/2006/relationships/customXml" Target="../customXml/item1191.xml"/><Relationship Id="rId1205" Type="http://schemas.openxmlformats.org/officeDocument/2006/relationships/customXml" Target="../customXml/item1205.xml"/><Relationship Id="rId51" Type="http://schemas.openxmlformats.org/officeDocument/2006/relationships/customXml" Target="../customXml/item51.xml"/><Relationship Id="rId561" Type="http://schemas.openxmlformats.org/officeDocument/2006/relationships/customXml" Target="../customXml/item561.xml"/><Relationship Id="rId659" Type="http://schemas.openxmlformats.org/officeDocument/2006/relationships/customXml" Target="../customXml/item659.xml"/><Relationship Id="rId866" Type="http://schemas.openxmlformats.org/officeDocument/2006/relationships/customXml" Target="../customXml/item866.xml"/><Relationship Id="rId214" Type="http://schemas.openxmlformats.org/officeDocument/2006/relationships/customXml" Target="../customXml/item214.xml"/><Relationship Id="rId298" Type="http://schemas.openxmlformats.org/officeDocument/2006/relationships/customXml" Target="../customXml/item298.xml"/><Relationship Id="rId421" Type="http://schemas.openxmlformats.org/officeDocument/2006/relationships/customXml" Target="../customXml/item421.xml"/><Relationship Id="rId519" Type="http://schemas.openxmlformats.org/officeDocument/2006/relationships/customXml" Target="../customXml/item519.xml"/><Relationship Id="rId1051" Type="http://schemas.openxmlformats.org/officeDocument/2006/relationships/customXml" Target="../customXml/item1051.xml"/><Relationship Id="rId1149" Type="http://schemas.openxmlformats.org/officeDocument/2006/relationships/customXml" Target="../customXml/item1149.xml"/><Relationship Id="rId158" Type="http://schemas.openxmlformats.org/officeDocument/2006/relationships/customXml" Target="../customXml/item158.xml"/><Relationship Id="rId726" Type="http://schemas.openxmlformats.org/officeDocument/2006/relationships/customXml" Target="../customXml/item726.xml"/><Relationship Id="rId933" Type="http://schemas.openxmlformats.org/officeDocument/2006/relationships/customXml" Target="../customXml/item933.xml"/><Relationship Id="rId1009" Type="http://schemas.openxmlformats.org/officeDocument/2006/relationships/customXml" Target="../customXml/item1009.xml"/><Relationship Id="rId62" Type="http://schemas.openxmlformats.org/officeDocument/2006/relationships/customXml" Target="../customXml/item62.xml"/><Relationship Id="rId365" Type="http://schemas.openxmlformats.org/officeDocument/2006/relationships/customXml" Target="../customXml/item365.xml"/><Relationship Id="rId572" Type="http://schemas.openxmlformats.org/officeDocument/2006/relationships/customXml" Target="../customXml/item572.xml"/><Relationship Id="rId1216" Type="http://schemas.openxmlformats.org/officeDocument/2006/relationships/slideMaster" Target="slideMasters/slideMaster5.xml"/><Relationship Id="rId225" Type="http://schemas.openxmlformats.org/officeDocument/2006/relationships/customXml" Target="../customXml/item225.xml"/><Relationship Id="rId432" Type="http://schemas.openxmlformats.org/officeDocument/2006/relationships/customXml" Target="../customXml/item432.xml"/><Relationship Id="rId877" Type="http://schemas.openxmlformats.org/officeDocument/2006/relationships/customXml" Target="../customXml/item877.xml"/><Relationship Id="rId1062" Type="http://schemas.openxmlformats.org/officeDocument/2006/relationships/customXml" Target="../customXml/item1062.xml"/><Relationship Id="rId737" Type="http://schemas.openxmlformats.org/officeDocument/2006/relationships/customXml" Target="../customXml/item737.xml"/><Relationship Id="rId944" Type="http://schemas.openxmlformats.org/officeDocument/2006/relationships/customXml" Target="../customXml/item944.xml"/><Relationship Id="rId73" Type="http://schemas.openxmlformats.org/officeDocument/2006/relationships/customXml" Target="../customXml/item73.xml"/><Relationship Id="rId169" Type="http://schemas.openxmlformats.org/officeDocument/2006/relationships/customXml" Target="../customXml/item169.xml"/><Relationship Id="rId376" Type="http://schemas.openxmlformats.org/officeDocument/2006/relationships/customXml" Target="../customXml/item376.xml"/><Relationship Id="rId583" Type="http://schemas.openxmlformats.org/officeDocument/2006/relationships/customXml" Target="../customXml/item583.xml"/><Relationship Id="rId790" Type="http://schemas.openxmlformats.org/officeDocument/2006/relationships/customXml" Target="../customXml/item790.xml"/><Relationship Id="rId804" Type="http://schemas.openxmlformats.org/officeDocument/2006/relationships/customXml" Target="../customXml/item804.xml"/><Relationship Id="rId1227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236" Type="http://schemas.openxmlformats.org/officeDocument/2006/relationships/customXml" Target="../customXml/item236.xml"/><Relationship Id="rId443" Type="http://schemas.openxmlformats.org/officeDocument/2006/relationships/customXml" Target="../customXml/item443.xml"/><Relationship Id="rId650" Type="http://schemas.openxmlformats.org/officeDocument/2006/relationships/customXml" Target="../customXml/item650.xml"/><Relationship Id="rId888" Type="http://schemas.openxmlformats.org/officeDocument/2006/relationships/customXml" Target="../customXml/item888.xml"/><Relationship Id="rId1073" Type="http://schemas.openxmlformats.org/officeDocument/2006/relationships/customXml" Target="../customXml/item1073.xml"/><Relationship Id="rId303" Type="http://schemas.openxmlformats.org/officeDocument/2006/relationships/customXml" Target="../customXml/item303.xml"/><Relationship Id="rId748" Type="http://schemas.openxmlformats.org/officeDocument/2006/relationships/customXml" Target="../customXml/item748.xml"/><Relationship Id="rId955" Type="http://schemas.openxmlformats.org/officeDocument/2006/relationships/customXml" Target="../customXml/item955.xml"/><Relationship Id="rId1140" Type="http://schemas.openxmlformats.org/officeDocument/2006/relationships/customXml" Target="../customXml/item1140.xml"/><Relationship Id="rId84" Type="http://schemas.openxmlformats.org/officeDocument/2006/relationships/customXml" Target="../customXml/item84.xml"/><Relationship Id="rId387" Type="http://schemas.openxmlformats.org/officeDocument/2006/relationships/customXml" Target="../customXml/item387.xml"/><Relationship Id="rId510" Type="http://schemas.openxmlformats.org/officeDocument/2006/relationships/customXml" Target="../customXml/item510.xml"/><Relationship Id="rId594" Type="http://schemas.openxmlformats.org/officeDocument/2006/relationships/customXml" Target="../customXml/item594.xml"/><Relationship Id="rId608" Type="http://schemas.openxmlformats.org/officeDocument/2006/relationships/customXml" Target="../customXml/item608.xml"/><Relationship Id="rId815" Type="http://schemas.openxmlformats.org/officeDocument/2006/relationships/customXml" Target="../customXml/item815.xml"/><Relationship Id="rId247" Type="http://schemas.openxmlformats.org/officeDocument/2006/relationships/customXml" Target="../customXml/item247.xml"/><Relationship Id="rId899" Type="http://schemas.openxmlformats.org/officeDocument/2006/relationships/customXml" Target="../customXml/item899.xml"/><Relationship Id="rId1000" Type="http://schemas.openxmlformats.org/officeDocument/2006/relationships/customXml" Target="../customXml/item1000.xml"/><Relationship Id="rId1084" Type="http://schemas.openxmlformats.org/officeDocument/2006/relationships/customXml" Target="../customXml/item1084.xml"/><Relationship Id="rId107" Type="http://schemas.openxmlformats.org/officeDocument/2006/relationships/customXml" Target="../customXml/item107.xml"/><Relationship Id="rId454" Type="http://schemas.openxmlformats.org/officeDocument/2006/relationships/customXml" Target="../customXml/item454.xml"/><Relationship Id="rId661" Type="http://schemas.openxmlformats.org/officeDocument/2006/relationships/customXml" Target="../customXml/item661.xml"/><Relationship Id="rId759" Type="http://schemas.openxmlformats.org/officeDocument/2006/relationships/customXml" Target="../customXml/item759.xml"/><Relationship Id="rId966" Type="http://schemas.openxmlformats.org/officeDocument/2006/relationships/customXml" Target="../customXml/item966.xml"/><Relationship Id="rId11" Type="http://schemas.openxmlformats.org/officeDocument/2006/relationships/customXml" Target="../customXml/item11.xml"/><Relationship Id="rId314" Type="http://schemas.openxmlformats.org/officeDocument/2006/relationships/customXml" Target="../customXml/item314.xml"/><Relationship Id="rId398" Type="http://schemas.openxmlformats.org/officeDocument/2006/relationships/customXml" Target="../customXml/item398.xml"/><Relationship Id="rId521" Type="http://schemas.openxmlformats.org/officeDocument/2006/relationships/customXml" Target="../customXml/item521.xml"/><Relationship Id="rId619" Type="http://schemas.openxmlformats.org/officeDocument/2006/relationships/customXml" Target="../customXml/item619.xml"/><Relationship Id="rId1151" Type="http://schemas.openxmlformats.org/officeDocument/2006/relationships/customXml" Target="../customXml/item1151.xml"/><Relationship Id="rId95" Type="http://schemas.openxmlformats.org/officeDocument/2006/relationships/customXml" Target="../customXml/item95.xml"/><Relationship Id="rId160" Type="http://schemas.openxmlformats.org/officeDocument/2006/relationships/customXml" Target="../customXml/item160.xml"/><Relationship Id="rId826" Type="http://schemas.openxmlformats.org/officeDocument/2006/relationships/customXml" Target="../customXml/item826.xml"/><Relationship Id="rId1011" Type="http://schemas.openxmlformats.org/officeDocument/2006/relationships/customXml" Target="../customXml/item1011.xml"/><Relationship Id="rId1109" Type="http://schemas.openxmlformats.org/officeDocument/2006/relationships/customXml" Target="../customXml/item1109.xml"/><Relationship Id="rId258" Type="http://schemas.openxmlformats.org/officeDocument/2006/relationships/customXml" Target="../customXml/item258.xml"/><Relationship Id="rId465" Type="http://schemas.openxmlformats.org/officeDocument/2006/relationships/customXml" Target="../customXml/item465.xml"/><Relationship Id="rId672" Type="http://schemas.openxmlformats.org/officeDocument/2006/relationships/customXml" Target="../customXml/item672.xml"/><Relationship Id="rId1095" Type="http://schemas.openxmlformats.org/officeDocument/2006/relationships/customXml" Target="../customXml/item1095.xml"/><Relationship Id="rId22" Type="http://schemas.openxmlformats.org/officeDocument/2006/relationships/customXml" Target="../customXml/item22.xml"/><Relationship Id="rId118" Type="http://schemas.openxmlformats.org/officeDocument/2006/relationships/customXml" Target="../customXml/item118.xml"/><Relationship Id="rId325" Type="http://schemas.openxmlformats.org/officeDocument/2006/relationships/customXml" Target="../customXml/item325.xml"/><Relationship Id="rId532" Type="http://schemas.openxmlformats.org/officeDocument/2006/relationships/customXml" Target="../customXml/item532.xml"/><Relationship Id="rId977" Type="http://schemas.openxmlformats.org/officeDocument/2006/relationships/customXml" Target="../customXml/item977.xml"/><Relationship Id="rId1162" Type="http://schemas.openxmlformats.org/officeDocument/2006/relationships/customXml" Target="../customXml/item1162.xml"/><Relationship Id="rId171" Type="http://schemas.openxmlformats.org/officeDocument/2006/relationships/customXml" Target="../customXml/item171.xml"/><Relationship Id="rId837" Type="http://schemas.openxmlformats.org/officeDocument/2006/relationships/customXml" Target="../customXml/item837.xml"/><Relationship Id="rId1022" Type="http://schemas.openxmlformats.org/officeDocument/2006/relationships/customXml" Target="../customXml/item1022.xml"/><Relationship Id="rId269" Type="http://schemas.openxmlformats.org/officeDocument/2006/relationships/customXml" Target="../customXml/item269.xml"/><Relationship Id="rId476" Type="http://schemas.openxmlformats.org/officeDocument/2006/relationships/customXml" Target="../customXml/item476.xml"/><Relationship Id="rId683" Type="http://schemas.openxmlformats.org/officeDocument/2006/relationships/customXml" Target="../customXml/item683.xml"/><Relationship Id="rId890" Type="http://schemas.openxmlformats.org/officeDocument/2006/relationships/customXml" Target="../customXml/item890.xml"/><Relationship Id="rId904" Type="http://schemas.openxmlformats.org/officeDocument/2006/relationships/customXml" Target="../customXml/item904.xml"/><Relationship Id="rId33" Type="http://schemas.openxmlformats.org/officeDocument/2006/relationships/customXml" Target="../customXml/item33.xml"/><Relationship Id="rId129" Type="http://schemas.openxmlformats.org/officeDocument/2006/relationships/customXml" Target="../customXml/item129.xml"/><Relationship Id="rId336" Type="http://schemas.openxmlformats.org/officeDocument/2006/relationships/customXml" Target="../customXml/item336.xml"/><Relationship Id="rId543" Type="http://schemas.openxmlformats.org/officeDocument/2006/relationships/customXml" Target="../customXml/item543.xml"/><Relationship Id="rId988" Type="http://schemas.openxmlformats.org/officeDocument/2006/relationships/customXml" Target="../customXml/item988.xml"/><Relationship Id="rId1173" Type="http://schemas.openxmlformats.org/officeDocument/2006/relationships/customXml" Target="../customXml/item1173.xml"/><Relationship Id="rId182" Type="http://schemas.openxmlformats.org/officeDocument/2006/relationships/customXml" Target="../customXml/item182.xml"/><Relationship Id="rId403" Type="http://schemas.openxmlformats.org/officeDocument/2006/relationships/customXml" Target="../customXml/item403.xml"/><Relationship Id="rId750" Type="http://schemas.openxmlformats.org/officeDocument/2006/relationships/customXml" Target="../customXml/item750.xml"/><Relationship Id="rId848" Type="http://schemas.openxmlformats.org/officeDocument/2006/relationships/customXml" Target="../customXml/item848.xml"/><Relationship Id="rId1033" Type="http://schemas.openxmlformats.org/officeDocument/2006/relationships/customXml" Target="../customXml/item1033.xml"/><Relationship Id="rId487" Type="http://schemas.openxmlformats.org/officeDocument/2006/relationships/customXml" Target="../customXml/item487.xml"/><Relationship Id="rId610" Type="http://schemas.openxmlformats.org/officeDocument/2006/relationships/customXml" Target="../customXml/item610.xml"/><Relationship Id="rId694" Type="http://schemas.openxmlformats.org/officeDocument/2006/relationships/customXml" Target="../customXml/item694.xml"/><Relationship Id="rId708" Type="http://schemas.openxmlformats.org/officeDocument/2006/relationships/customXml" Target="../customXml/item708.xml"/><Relationship Id="rId915" Type="http://schemas.openxmlformats.org/officeDocument/2006/relationships/customXml" Target="../customXml/item915.xml"/><Relationship Id="rId347" Type="http://schemas.openxmlformats.org/officeDocument/2006/relationships/customXml" Target="../customXml/item347.xml"/><Relationship Id="rId999" Type="http://schemas.openxmlformats.org/officeDocument/2006/relationships/customXml" Target="../customXml/item999.xml"/><Relationship Id="rId1100" Type="http://schemas.openxmlformats.org/officeDocument/2006/relationships/customXml" Target="../customXml/item1100.xml"/><Relationship Id="rId1184" Type="http://schemas.openxmlformats.org/officeDocument/2006/relationships/customXml" Target="../customXml/item1184.xml"/><Relationship Id="rId44" Type="http://schemas.openxmlformats.org/officeDocument/2006/relationships/customXml" Target="../customXml/item44.xml"/><Relationship Id="rId554" Type="http://schemas.openxmlformats.org/officeDocument/2006/relationships/customXml" Target="../customXml/item554.xml"/><Relationship Id="rId761" Type="http://schemas.openxmlformats.org/officeDocument/2006/relationships/customXml" Target="../customXml/item761.xml"/><Relationship Id="rId859" Type="http://schemas.openxmlformats.org/officeDocument/2006/relationships/customXml" Target="../customXml/item859.xml"/><Relationship Id="rId193" Type="http://schemas.openxmlformats.org/officeDocument/2006/relationships/customXml" Target="../customXml/item193.xml"/><Relationship Id="rId207" Type="http://schemas.openxmlformats.org/officeDocument/2006/relationships/customXml" Target="../customXml/item207.xml"/><Relationship Id="rId414" Type="http://schemas.openxmlformats.org/officeDocument/2006/relationships/customXml" Target="../customXml/item414.xml"/><Relationship Id="rId498" Type="http://schemas.openxmlformats.org/officeDocument/2006/relationships/customXml" Target="../customXml/item498.xml"/><Relationship Id="rId621" Type="http://schemas.openxmlformats.org/officeDocument/2006/relationships/customXml" Target="../customXml/item621.xml"/><Relationship Id="rId1044" Type="http://schemas.openxmlformats.org/officeDocument/2006/relationships/customXml" Target="../customXml/item1044.xml"/><Relationship Id="rId260" Type="http://schemas.openxmlformats.org/officeDocument/2006/relationships/customXml" Target="../customXml/item260.xml"/><Relationship Id="rId719" Type="http://schemas.openxmlformats.org/officeDocument/2006/relationships/customXml" Target="../customXml/item719.xml"/><Relationship Id="rId926" Type="http://schemas.openxmlformats.org/officeDocument/2006/relationships/customXml" Target="../customXml/item926.xml"/><Relationship Id="rId1111" Type="http://schemas.openxmlformats.org/officeDocument/2006/relationships/customXml" Target="../customXml/item1111.xml"/><Relationship Id="rId55" Type="http://schemas.openxmlformats.org/officeDocument/2006/relationships/customXml" Target="../customXml/item55.xml"/><Relationship Id="rId120" Type="http://schemas.openxmlformats.org/officeDocument/2006/relationships/customXml" Target="../customXml/item120.xml"/><Relationship Id="rId358" Type="http://schemas.openxmlformats.org/officeDocument/2006/relationships/customXml" Target="../customXml/item358.xml"/><Relationship Id="rId565" Type="http://schemas.openxmlformats.org/officeDocument/2006/relationships/customXml" Target="../customXml/item565.xml"/><Relationship Id="rId772" Type="http://schemas.openxmlformats.org/officeDocument/2006/relationships/customXml" Target="../customXml/item772.xml"/><Relationship Id="rId1195" Type="http://schemas.openxmlformats.org/officeDocument/2006/relationships/customXml" Target="../customXml/item1195.xml"/><Relationship Id="rId1209" Type="http://schemas.openxmlformats.org/officeDocument/2006/relationships/customXml" Target="../customXml/item1209.xml"/><Relationship Id="rId218" Type="http://schemas.openxmlformats.org/officeDocument/2006/relationships/customXml" Target="../customXml/item218.xml"/><Relationship Id="rId425" Type="http://schemas.openxmlformats.org/officeDocument/2006/relationships/customXml" Target="../customXml/item425.xml"/><Relationship Id="rId632" Type="http://schemas.openxmlformats.org/officeDocument/2006/relationships/customXml" Target="../customXml/item632.xml"/><Relationship Id="rId1055" Type="http://schemas.openxmlformats.org/officeDocument/2006/relationships/customXml" Target="../customXml/item1055.xml"/><Relationship Id="rId271" Type="http://schemas.openxmlformats.org/officeDocument/2006/relationships/customXml" Target="../customXml/item271.xml"/><Relationship Id="rId937" Type="http://schemas.openxmlformats.org/officeDocument/2006/relationships/customXml" Target="../customXml/item937.xml"/><Relationship Id="rId1122" Type="http://schemas.openxmlformats.org/officeDocument/2006/relationships/customXml" Target="../customXml/item1122.xml"/><Relationship Id="rId66" Type="http://schemas.openxmlformats.org/officeDocument/2006/relationships/customXml" Target="../customXml/item66.xml"/><Relationship Id="rId131" Type="http://schemas.openxmlformats.org/officeDocument/2006/relationships/customXml" Target="../customXml/item131.xml"/><Relationship Id="rId369" Type="http://schemas.openxmlformats.org/officeDocument/2006/relationships/customXml" Target="../customXml/item369.xml"/><Relationship Id="rId576" Type="http://schemas.openxmlformats.org/officeDocument/2006/relationships/customXml" Target="../customXml/item576.xml"/><Relationship Id="rId783" Type="http://schemas.openxmlformats.org/officeDocument/2006/relationships/customXml" Target="../customXml/item783.xml"/><Relationship Id="rId990" Type="http://schemas.openxmlformats.org/officeDocument/2006/relationships/customXml" Target="../customXml/item990.xml"/><Relationship Id="rId229" Type="http://schemas.openxmlformats.org/officeDocument/2006/relationships/customXml" Target="../customXml/item229.xml"/><Relationship Id="rId436" Type="http://schemas.openxmlformats.org/officeDocument/2006/relationships/customXml" Target="../customXml/item436.xml"/><Relationship Id="rId643" Type="http://schemas.openxmlformats.org/officeDocument/2006/relationships/customXml" Target="../customXml/item643.xml"/><Relationship Id="rId1066" Type="http://schemas.openxmlformats.org/officeDocument/2006/relationships/customXml" Target="../customXml/item1066.xml"/><Relationship Id="rId850" Type="http://schemas.openxmlformats.org/officeDocument/2006/relationships/customXml" Target="../customXml/item850.xml"/><Relationship Id="rId948" Type="http://schemas.openxmlformats.org/officeDocument/2006/relationships/customXml" Target="../customXml/item948.xml"/><Relationship Id="rId1133" Type="http://schemas.openxmlformats.org/officeDocument/2006/relationships/customXml" Target="../customXml/item1133.xml"/><Relationship Id="rId77" Type="http://schemas.openxmlformats.org/officeDocument/2006/relationships/customXml" Target="../customXml/item77.xml"/><Relationship Id="rId282" Type="http://schemas.openxmlformats.org/officeDocument/2006/relationships/customXml" Target="../customXml/item282.xml"/><Relationship Id="rId503" Type="http://schemas.openxmlformats.org/officeDocument/2006/relationships/customXml" Target="../customXml/item503.xml"/><Relationship Id="rId587" Type="http://schemas.openxmlformats.org/officeDocument/2006/relationships/customXml" Target="../customXml/item587.xml"/><Relationship Id="rId710" Type="http://schemas.openxmlformats.org/officeDocument/2006/relationships/customXml" Target="../customXml/item710.xml"/><Relationship Id="rId808" Type="http://schemas.openxmlformats.org/officeDocument/2006/relationships/customXml" Target="../customXml/item808.xml"/><Relationship Id="rId8" Type="http://schemas.openxmlformats.org/officeDocument/2006/relationships/customXml" Target="../customXml/item8.xml"/><Relationship Id="rId142" Type="http://schemas.openxmlformats.org/officeDocument/2006/relationships/customXml" Target="../customXml/item142.xml"/><Relationship Id="rId447" Type="http://schemas.openxmlformats.org/officeDocument/2006/relationships/customXml" Target="../customXml/item447.xml"/><Relationship Id="rId794" Type="http://schemas.openxmlformats.org/officeDocument/2006/relationships/customXml" Target="../customXml/item794.xml"/><Relationship Id="rId1077" Type="http://schemas.openxmlformats.org/officeDocument/2006/relationships/customXml" Target="../customXml/item1077.xml"/><Relationship Id="rId1200" Type="http://schemas.openxmlformats.org/officeDocument/2006/relationships/customXml" Target="../customXml/item1200.xml"/><Relationship Id="rId654" Type="http://schemas.openxmlformats.org/officeDocument/2006/relationships/customXml" Target="../customXml/item654.xml"/><Relationship Id="rId861" Type="http://schemas.openxmlformats.org/officeDocument/2006/relationships/customXml" Target="../customXml/item861.xml"/><Relationship Id="rId959" Type="http://schemas.openxmlformats.org/officeDocument/2006/relationships/customXml" Target="../customXml/item959.xml"/><Relationship Id="rId293" Type="http://schemas.openxmlformats.org/officeDocument/2006/relationships/customXml" Target="../customXml/item293.xml"/><Relationship Id="rId307" Type="http://schemas.openxmlformats.org/officeDocument/2006/relationships/customXml" Target="../customXml/item307.xml"/><Relationship Id="rId514" Type="http://schemas.openxmlformats.org/officeDocument/2006/relationships/customXml" Target="../customXml/item514.xml"/><Relationship Id="rId721" Type="http://schemas.openxmlformats.org/officeDocument/2006/relationships/customXml" Target="../customXml/item721.xml"/><Relationship Id="rId1144" Type="http://schemas.openxmlformats.org/officeDocument/2006/relationships/customXml" Target="../customXml/item1144.xml"/><Relationship Id="rId88" Type="http://schemas.openxmlformats.org/officeDocument/2006/relationships/customXml" Target="../customXml/item88.xml"/><Relationship Id="rId153" Type="http://schemas.openxmlformats.org/officeDocument/2006/relationships/customXml" Target="../customXml/item153.xml"/><Relationship Id="rId360" Type="http://schemas.openxmlformats.org/officeDocument/2006/relationships/customXml" Target="../customXml/item360.xml"/><Relationship Id="rId598" Type="http://schemas.openxmlformats.org/officeDocument/2006/relationships/customXml" Target="../customXml/item598.xml"/><Relationship Id="rId819" Type="http://schemas.openxmlformats.org/officeDocument/2006/relationships/customXml" Target="../customXml/item819.xml"/><Relationship Id="rId1004" Type="http://schemas.openxmlformats.org/officeDocument/2006/relationships/customXml" Target="../customXml/item1004.xml"/><Relationship Id="rId1211" Type="http://schemas.openxmlformats.org/officeDocument/2006/relationships/customXml" Target="../customXml/item1211.xml"/><Relationship Id="rId220" Type="http://schemas.openxmlformats.org/officeDocument/2006/relationships/customXml" Target="../customXml/item220.xml"/><Relationship Id="rId458" Type="http://schemas.openxmlformats.org/officeDocument/2006/relationships/customXml" Target="../customXml/item458.xml"/><Relationship Id="rId665" Type="http://schemas.openxmlformats.org/officeDocument/2006/relationships/customXml" Target="../customXml/item665.xml"/><Relationship Id="rId872" Type="http://schemas.openxmlformats.org/officeDocument/2006/relationships/customXml" Target="../customXml/item872.xml"/><Relationship Id="rId1088" Type="http://schemas.openxmlformats.org/officeDocument/2006/relationships/customXml" Target="../customXml/item1088.xml"/><Relationship Id="rId15" Type="http://schemas.openxmlformats.org/officeDocument/2006/relationships/customXml" Target="../customXml/item15.xml"/><Relationship Id="rId318" Type="http://schemas.openxmlformats.org/officeDocument/2006/relationships/customXml" Target="../customXml/item318.xml"/><Relationship Id="rId525" Type="http://schemas.openxmlformats.org/officeDocument/2006/relationships/customXml" Target="../customXml/item525.xml"/><Relationship Id="rId732" Type="http://schemas.openxmlformats.org/officeDocument/2006/relationships/customXml" Target="../customXml/item732.xml"/><Relationship Id="rId1155" Type="http://schemas.openxmlformats.org/officeDocument/2006/relationships/customXml" Target="../customXml/item1155.xml"/><Relationship Id="rId99" Type="http://schemas.openxmlformats.org/officeDocument/2006/relationships/customXml" Target="../customXml/item99.xml"/><Relationship Id="rId164" Type="http://schemas.openxmlformats.org/officeDocument/2006/relationships/customXml" Target="../customXml/item164.xml"/><Relationship Id="rId371" Type="http://schemas.openxmlformats.org/officeDocument/2006/relationships/customXml" Target="../customXml/item371.xml"/><Relationship Id="rId1015" Type="http://schemas.openxmlformats.org/officeDocument/2006/relationships/customXml" Target="../customXml/item1015.xml"/><Relationship Id="rId1222" Type="http://schemas.openxmlformats.org/officeDocument/2006/relationships/slide" Target="slides/slide6.xml"/><Relationship Id="rId469" Type="http://schemas.openxmlformats.org/officeDocument/2006/relationships/customXml" Target="../customXml/item469.xml"/><Relationship Id="rId676" Type="http://schemas.openxmlformats.org/officeDocument/2006/relationships/customXml" Target="../customXml/item676.xml"/><Relationship Id="rId883" Type="http://schemas.openxmlformats.org/officeDocument/2006/relationships/customXml" Target="../customXml/item883.xml"/><Relationship Id="rId1099" Type="http://schemas.openxmlformats.org/officeDocument/2006/relationships/customXml" Target="../customXml/item1099.xml"/><Relationship Id="rId26" Type="http://schemas.openxmlformats.org/officeDocument/2006/relationships/customXml" Target="../customXml/item26.xml"/><Relationship Id="rId231" Type="http://schemas.openxmlformats.org/officeDocument/2006/relationships/customXml" Target="../customXml/item231.xml"/><Relationship Id="rId329" Type="http://schemas.openxmlformats.org/officeDocument/2006/relationships/customXml" Target="../customXml/item329.xml"/><Relationship Id="rId536" Type="http://schemas.openxmlformats.org/officeDocument/2006/relationships/customXml" Target="../customXml/item536.xml"/><Relationship Id="rId1166" Type="http://schemas.openxmlformats.org/officeDocument/2006/relationships/customXml" Target="../customXml/item1166.xml"/><Relationship Id="rId175" Type="http://schemas.openxmlformats.org/officeDocument/2006/relationships/customXml" Target="../customXml/item175.xml"/><Relationship Id="rId743" Type="http://schemas.openxmlformats.org/officeDocument/2006/relationships/customXml" Target="../customXml/item743.xml"/><Relationship Id="rId950" Type="http://schemas.openxmlformats.org/officeDocument/2006/relationships/customXml" Target="../customXml/item950.xml"/><Relationship Id="rId1026" Type="http://schemas.openxmlformats.org/officeDocument/2006/relationships/customXml" Target="../customXml/item1026.xml"/><Relationship Id="rId382" Type="http://schemas.openxmlformats.org/officeDocument/2006/relationships/customXml" Target="../customXml/item382.xml"/><Relationship Id="rId603" Type="http://schemas.openxmlformats.org/officeDocument/2006/relationships/customXml" Target="../customXml/item603.xml"/><Relationship Id="rId687" Type="http://schemas.openxmlformats.org/officeDocument/2006/relationships/customXml" Target="../customXml/item687.xml"/><Relationship Id="rId810" Type="http://schemas.openxmlformats.org/officeDocument/2006/relationships/customXml" Target="../customXml/item810.xml"/><Relationship Id="rId908" Type="http://schemas.openxmlformats.org/officeDocument/2006/relationships/customXml" Target="../customXml/item908.xml"/><Relationship Id="rId242" Type="http://schemas.openxmlformats.org/officeDocument/2006/relationships/customXml" Target="../customXml/item242.xml"/><Relationship Id="rId894" Type="http://schemas.openxmlformats.org/officeDocument/2006/relationships/customXml" Target="../customXml/item894.xml"/><Relationship Id="rId1177" Type="http://schemas.openxmlformats.org/officeDocument/2006/relationships/customXml" Target="../customXml/item1177.xml"/><Relationship Id="rId37" Type="http://schemas.openxmlformats.org/officeDocument/2006/relationships/customXml" Target="../customXml/item37.xml"/><Relationship Id="rId102" Type="http://schemas.openxmlformats.org/officeDocument/2006/relationships/customXml" Target="../customXml/item102.xml"/><Relationship Id="rId547" Type="http://schemas.openxmlformats.org/officeDocument/2006/relationships/customXml" Target="../customXml/item547.xml"/><Relationship Id="rId754" Type="http://schemas.openxmlformats.org/officeDocument/2006/relationships/customXml" Target="../customXml/item754.xml"/><Relationship Id="rId961" Type="http://schemas.openxmlformats.org/officeDocument/2006/relationships/customXml" Target="../customXml/item961.xml"/><Relationship Id="rId90" Type="http://schemas.openxmlformats.org/officeDocument/2006/relationships/customXml" Target="../customXml/item90.xml"/><Relationship Id="rId186" Type="http://schemas.openxmlformats.org/officeDocument/2006/relationships/customXml" Target="../customXml/item186.xml"/><Relationship Id="rId393" Type="http://schemas.openxmlformats.org/officeDocument/2006/relationships/customXml" Target="../customXml/item393.xml"/><Relationship Id="rId407" Type="http://schemas.openxmlformats.org/officeDocument/2006/relationships/customXml" Target="../customXml/item407.xml"/><Relationship Id="rId614" Type="http://schemas.openxmlformats.org/officeDocument/2006/relationships/customXml" Target="../customXml/item614.xml"/><Relationship Id="rId821" Type="http://schemas.openxmlformats.org/officeDocument/2006/relationships/customXml" Target="../customXml/item821.xml"/><Relationship Id="rId1037" Type="http://schemas.openxmlformats.org/officeDocument/2006/relationships/customXml" Target="../customXml/item1037.xml"/><Relationship Id="rId253" Type="http://schemas.openxmlformats.org/officeDocument/2006/relationships/customXml" Target="../customXml/item253.xml"/><Relationship Id="rId460" Type="http://schemas.openxmlformats.org/officeDocument/2006/relationships/customXml" Target="../customXml/item460.xml"/><Relationship Id="rId698" Type="http://schemas.openxmlformats.org/officeDocument/2006/relationships/customXml" Target="../customXml/item698.xml"/><Relationship Id="rId919" Type="http://schemas.openxmlformats.org/officeDocument/2006/relationships/customXml" Target="../customXml/item919.xml"/><Relationship Id="rId1090" Type="http://schemas.openxmlformats.org/officeDocument/2006/relationships/customXml" Target="../customXml/item1090.xml"/><Relationship Id="rId1104" Type="http://schemas.openxmlformats.org/officeDocument/2006/relationships/customXml" Target="../customXml/item1104.xml"/><Relationship Id="rId48" Type="http://schemas.openxmlformats.org/officeDocument/2006/relationships/customXml" Target="../customXml/item48.xml"/><Relationship Id="rId113" Type="http://schemas.openxmlformats.org/officeDocument/2006/relationships/customXml" Target="../customXml/item113.xml"/><Relationship Id="rId320" Type="http://schemas.openxmlformats.org/officeDocument/2006/relationships/customXml" Target="../customXml/item320.xml"/><Relationship Id="rId558" Type="http://schemas.openxmlformats.org/officeDocument/2006/relationships/customXml" Target="../customXml/item558.xml"/><Relationship Id="rId765" Type="http://schemas.openxmlformats.org/officeDocument/2006/relationships/customXml" Target="../customXml/item765.xml"/><Relationship Id="rId972" Type="http://schemas.openxmlformats.org/officeDocument/2006/relationships/customXml" Target="../customXml/item972.xml"/><Relationship Id="rId1188" Type="http://schemas.openxmlformats.org/officeDocument/2006/relationships/customXml" Target="../customXml/item1188.xml"/><Relationship Id="rId197" Type="http://schemas.openxmlformats.org/officeDocument/2006/relationships/customXml" Target="../customXml/item197.xml"/><Relationship Id="rId418" Type="http://schemas.openxmlformats.org/officeDocument/2006/relationships/customXml" Target="../customXml/item418.xml"/><Relationship Id="rId625" Type="http://schemas.openxmlformats.org/officeDocument/2006/relationships/customXml" Target="../customXml/item625.xml"/><Relationship Id="rId832" Type="http://schemas.openxmlformats.org/officeDocument/2006/relationships/customXml" Target="../customXml/item832.xml"/><Relationship Id="rId1048" Type="http://schemas.openxmlformats.org/officeDocument/2006/relationships/customXml" Target="../customXml/item1048.xml"/><Relationship Id="rId264" Type="http://schemas.openxmlformats.org/officeDocument/2006/relationships/customXml" Target="../customXml/item264.xml"/><Relationship Id="rId471" Type="http://schemas.openxmlformats.org/officeDocument/2006/relationships/customXml" Target="../customXml/item471.xml"/><Relationship Id="rId1115" Type="http://schemas.openxmlformats.org/officeDocument/2006/relationships/customXml" Target="../customXml/item1115.xml"/><Relationship Id="rId59" Type="http://schemas.openxmlformats.org/officeDocument/2006/relationships/customXml" Target="../customXml/item59.xml"/><Relationship Id="rId124" Type="http://schemas.openxmlformats.org/officeDocument/2006/relationships/customXml" Target="../customXml/item124.xml"/><Relationship Id="rId569" Type="http://schemas.openxmlformats.org/officeDocument/2006/relationships/customXml" Target="../customXml/item569.xml"/><Relationship Id="rId776" Type="http://schemas.openxmlformats.org/officeDocument/2006/relationships/customXml" Target="../customXml/item776.xml"/><Relationship Id="rId983" Type="http://schemas.openxmlformats.org/officeDocument/2006/relationships/customXml" Target="../customXml/item983.xml"/><Relationship Id="rId1199" Type="http://schemas.openxmlformats.org/officeDocument/2006/relationships/customXml" Target="../customXml/item1199.xml"/><Relationship Id="rId331" Type="http://schemas.openxmlformats.org/officeDocument/2006/relationships/customXml" Target="../customXml/item331.xml"/><Relationship Id="rId429" Type="http://schemas.openxmlformats.org/officeDocument/2006/relationships/customXml" Target="../customXml/item429.xml"/><Relationship Id="rId636" Type="http://schemas.openxmlformats.org/officeDocument/2006/relationships/customXml" Target="../customXml/item636.xml"/><Relationship Id="rId1059" Type="http://schemas.openxmlformats.org/officeDocument/2006/relationships/customXml" Target="../customXml/item1059.xml"/><Relationship Id="rId843" Type="http://schemas.openxmlformats.org/officeDocument/2006/relationships/customXml" Target="../customXml/item843.xml"/><Relationship Id="rId1126" Type="http://schemas.openxmlformats.org/officeDocument/2006/relationships/customXml" Target="../customXml/item1126.xml"/><Relationship Id="rId275" Type="http://schemas.openxmlformats.org/officeDocument/2006/relationships/customXml" Target="../customXml/item275.xml"/><Relationship Id="rId482" Type="http://schemas.openxmlformats.org/officeDocument/2006/relationships/customXml" Target="../customXml/item482.xml"/><Relationship Id="rId703" Type="http://schemas.openxmlformats.org/officeDocument/2006/relationships/customXml" Target="../customXml/item703.xml"/><Relationship Id="rId910" Type="http://schemas.openxmlformats.org/officeDocument/2006/relationships/customXml" Target="../customXml/item910.xml"/><Relationship Id="rId135" Type="http://schemas.openxmlformats.org/officeDocument/2006/relationships/customXml" Target="../customXml/item135.xml"/><Relationship Id="rId342" Type="http://schemas.openxmlformats.org/officeDocument/2006/relationships/customXml" Target="../customXml/item342.xml"/><Relationship Id="rId787" Type="http://schemas.openxmlformats.org/officeDocument/2006/relationships/customXml" Target="../customXml/item787.xml"/><Relationship Id="rId994" Type="http://schemas.openxmlformats.org/officeDocument/2006/relationships/customXml" Target="../customXml/item994.xml"/><Relationship Id="rId202" Type="http://schemas.openxmlformats.org/officeDocument/2006/relationships/customXml" Target="../customXml/item202.xml"/><Relationship Id="rId647" Type="http://schemas.openxmlformats.org/officeDocument/2006/relationships/customXml" Target="../customXml/item647.xml"/><Relationship Id="rId854" Type="http://schemas.openxmlformats.org/officeDocument/2006/relationships/customXml" Target="../customXml/item854.xml"/><Relationship Id="rId286" Type="http://schemas.openxmlformats.org/officeDocument/2006/relationships/customXml" Target="../customXml/item286.xml"/><Relationship Id="rId493" Type="http://schemas.openxmlformats.org/officeDocument/2006/relationships/customXml" Target="../customXml/item493.xml"/><Relationship Id="rId507" Type="http://schemas.openxmlformats.org/officeDocument/2006/relationships/customXml" Target="../customXml/item507.xml"/><Relationship Id="rId714" Type="http://schemas.openxmlformats.org/officeDocument/2006/relationships/customXml" Target="../customXml/item714.xml"/><Relationship Id="rId921" Type="http://schemas.openxmlformats.org/officeDocument/2006/relationships/customXml" Target="../customXml/item921.xml"/><Relationship Id="rId1137" Type="http://schemas.openxmlformats.org/officeDocument/2006/relationships/customXml" Target="../customXml/item1137.xml"/><Relationship Id="rId50" Type="http://schemas.openxmlformats.org/officeDocument/2006/relationships/customXml" Target="../customXml/item50.xml"/><Relationship Id="rId146" Type="http://schemas.openxmlformats.org/officeDocument/2006/relationships/customXml" Target="../customXml/item146.xml"/><Relationship Id="rId353" Type="http://schemas.openxmlformats.org/officeDocument/2006/relationships/customXml" Target="../customXml/item353.xml"/><Relationship Id="rId560" Type="http://schemas.openxmlformats.org/officeDocument/2006/relationships/customXml" Target="../customXml/item560.xml"/><Relationship Id="rId798" Type="http://schemas.openxmlformats.org/officeDocument/2006/relationships/customXml" Target="../customXml/item798.xml"/><Relationship Id="rId1190" Type="http://schemas.openxmlformats.org/officeDocument/2006/relationships/customXml" Target="../customXml/item1190.xml"/><Relationship Id="rId1204" Type="http://schemas.openxmlformats.org/officeDocument/2006/relationships/customXml" Target="../customXml/item1204.xml"/><Relationship Id="rId213" Type="http://schemas.openxmlformats.org/officeDocument/2006/relationships/customXml" Target="../customXml/item213.xml"/><Relationship Id="rId420" Type="http://schemas.openxmlformats.org/officeDocument/2006/relationships/customXml" Target="../customXml/item420.xml"/><Relationship Id="rId658" Type="http://schemas.openxmlformats.org/officeDocument/2006/relationships/customXml" Target="../customXml/item658.xml"/><Relationship Id="rId865" Type="http://schemas.openxmlformats.org/officeDocument/2006/relationships/customXml" Target="../customXml/item865.xml"/><Relationship Id="rId1050" Type="http://schemas.openxmlformats.org/officeDocument/2006/relationships/customXml" Target="../customXml/item1050.xml"/><Relationship Id="rId297" Type="http://schemas.openxmlformats.org/officeDocument/2006/relationships/customXml" Target="../customXml/item297.xml"/><Relationship Id="rId518" Type="http://schemas.openxmlformats.org/officeDocument/2006/relationships/customXml" Target="../customXml/item518.xml"/><Relationship Id="rId725" Type="http://schemas.openxmlformats.org/officeDocument/2006/relationships/customXml" Target="../customXml/item725.xml"/><Relationship Id="rId932" Type="http://schemas.openxmlformats.org/officeDocument/2006/relationships/customXml" Target="../customXml/item932.xml"/><Relationship Id="rId1148" Type="http://schemas.openxmlformats.org/officeDocument/2006/relationships/customXml" Target="../customXml/item1148.xml"/><Relationship Id="rId157" Type="http://schemas.openxmlformats.org/officeDocument/2006/relationships/customXml" Target="../customXml/item157.xml"/><Relationship Id="rId364" Type="http://schemas.openxmlformats.org/officeDocument/2006/relationships/customXml" Target="../customXml/item364.xml"/><Relationship Id="rId1008" Type="http://schemas.openxmlformats.org/officeDocument/2006/relationships/customXml" Target="../customXml/item1008.xml"/><Relationship Id="rId1215" Type="http://schemas.openxmlformats.org/officeDocument/2006/relationships/slideMaster" Target="slideMasters/slideMaster4.xml"/><Relationship Id="rId61" Type="http://schemas.openxmlformats.org/officeDocument/2006/relationships/customXml" Target="../customXml/item61.xml"/><Relationship Id="rId571" Type="http://schemas.openxmlformats.org/officeDocument/2006/relationships/customXml" Target="../customXml/item571.xml"/><Relationship Id="rId669" Type="http://schemas.openxmlformats.org/officeDocument/2006/relationships/customXml" Target="../customXml/item669.xml"/><Relationship Id="rId876" Type="http://schemas.openxmlformats.org/officeDocument/2006/relationships/customXml" Target="../customXml/item876.xml"/><Relationship Id="rId19" Type="http://schemas.openxmlformats.org/officeDocument/2006/relationships/customXml" Target="../customXml/item19.xml"/><Relationship Id="rId224" Type="http://schemas.openxmlformats.org/officeDocument/2006/relationships/customXml" Target="../customXml/item224.xml"/><Relationship Id="rId431" Type="http://schemas.openxmlformats.org/officeDocument/2006/relationships/customXml" Target="../customXml/item431.xml"/><Relationship Id="rId529" Type="http://schemas.openxmlformats.org/officeDocument/2006/relationships/customXml" Target="../customXml/item529.xml"/><Relationship Id="rId736" Type="http://schemas.openxmlformats.org/officeDocument/2006/relationships/customXml" Target="../customXml/item736.xml"/><Relationship Id="rId1061" Type="http://schemas.openxmlformats.org/officeDocument/2006/relationships/customXml" Target="../customXml/item1061.xml"/><Relationship Id="rId1159" Type="http://schemas.openxmlformats.org/officeDocument/2006/relationships/customXml" Target="../customXml/item1159.xml"/><Relationship Id="rId168" Type="http://schemas.openxmlformats.org/officeDocument/2006/relationships/customXml" Target="../customXml/item168.xml"/><Relationship Id="rId943" Type="http://schemas.openxmlformats.org/officeDocument/2006/relationships/customXml" Target="../customXml/item943.xml"/><Relationship Id="rId1019" Type="http://schemas.openxmlformats.org/officeDocument/2006/relationships/customXml" Target="../customXml/item1019.xml"/><Relationship Id="rId72" Type="http://schemas.openxmlformats.org/officeDocument/2006/relationships/customXml" Target="../customXml/item72.xml"/><Relationship Id="rId375" Type="http://schemas.openxmlformats.org/officeDocument/2006/relationships/customXml" Target="../customXml/item375.xml"/><Relationship Id="rId582" Type="http://schemas.openxmlformats.org/officeDocument/2006/relationships/customXml" Target="../customXml/item582.xml"/><Relationship Id="rId803" Type="http://schemas.openxmlformats.org/officeDocument/2006/relationships/customXml" Target="../customXml/item803.xml"/><Relationship Id="rId1226" Type="http://schemas.openxmlformats.org/officeDocument/2006/relationships/slide" Target="slides/slide10.xml"/><Relationship Id="rId3" Type="http://schemas.openxmlformats.org/officeDocument/2006/relationships/customXml" Target="../customXml/item3.xml"/><Relationship Id="rId235" Type="http://schemas.openxmlformats.org/officeDocument/2006/relationships/customXml" Target="../customXml/item235.xml"/><Relationship Id="rId442" Type="http://schemas.openxmlformats.org/officeDocument/2006/relationships/customXml" Target="../customXml/item442.xml"/><Relationship Id="rId887" Type="http://schemas.openxmlformats.org/officeDocument/2006/relationships/customXml" Target="../customXml/item887.xml"/><Relationship Id="rId1072" Type="http://schemas.openxmlformats.org/officeDocument/2006/relationships/customXml" Target="../customXml/item1072.xml"/><Relationship Id="rId302" Type="http://schemas.openxmlformats.org/officeDocument/2006/relationships/customXml" Target="../customXml/item302.xml"/><Relationship Id="rId747" Type="http://schemas.openxmlformats.org/officeDocument/2006/relationships/customXml" Target="../customXml/item747.xml"/><Relationship Id="rId954" Type="http://schemas.openxmlformats.org/officeDocument/2006/relationships/customXml" Target="../customXml/item954.xml"/><Relationship Id="rId83" Type="http://schemas.openxmlformats.org/officeDocument/2006/relationships/customXml" Target="../customXml/item83.xml"/><Relationship Id="rId179" Type="http://schemas.openxmlformats.org/officeDocument/2006/relationships/customXml" Target="../customXml/item179.xml"/><Relationship Id="rId386" Type="http://schemas.openxmlformats.org/officeDocument/2006/relationships/customXml" Target="../customXml/item386.xml"/><Relationship Id="rId593" Type="http://schemas.openxmlformats.org/officeDocument/2006/relationships/customXml" Target="../customXml/item593.xml"/><Relationship Id="rId607" Type="http://schemas.openxmlformats.org/officeDocument/2006/relationships/customXml" Target="../customXml/item607.xml"/><Relationship Id="rId814" Type="http://schemas.openxmlformats.org/officeDocument/2006/relationships/customXml" Target="../customXml/item814.xml"/><Relationship Id="rId246" Type="http://schemas.openxmlformats.org/officeDocument/2006/relationships/customXml" Target="../customXml/item246.xml"/><Relationship Id="rId453" Type="http://schemas.openxmlformats.org/officeDocument/2006/relationships/customXml" Target="../customXml/item453.xml"/><Relationship Id="rId660" Type="http://schemas.openxmlformats.org/officeDocument/2006/relationships/customXml" Target="../customXml/item660.xml"/><Relationship Id="rId898" Type="http://schemas.openxmlformats.org/officeDocument/2006/relationships/customXml" Target="../customXml/item898.xml"/><Relationship Id="rId1083" Type="http://schemas.openxmlformats.org/officeDocument/2006/relationships/customXml" Target="../customXml/item1083.xml"/><Relationship Id="rId106" Type="http://schemas.openxmlformats.org/officeDocument/2006/relationships/customXml" Target="../customXml/item106.xml"/><Relationship Id="rId313" Type="http://schemas.openxmlformats.org/officeDocument/2006/relationships/customXml" Target="../customXml/item313.xml"/><Relationship Id="rId758" Type="http://schemas.openxmlformats.org/officeDocument/2006/relationships/customXml" Target="../customXml/item758.xml"/><Relationship Id="rId965" Type="http://schemas.openxmlformats.org/officeDocument/2006/relationships/customXml" Target="../customXml/item965.xml"/><Relationship Id="rId1150" Type="http://schemas.openxmlformats.org/officeDocument/2006/relationships/customXml" Target="../customXml/item1150.xml"/><Relationship Id="rId10" Type="http://schemas.openxmlformats.org/officeDocument/2006/relationships/customXml" Target="../customXml/item10.xml"/><Relationship Id="rId94" Type="http://schemas.openxmlformats.org/officeDocument/2006/relationships/customXml" Target="../customXml/item94.xml"/><Relationship Id="rId397" Type="http://schemas.openxmlformats.org/officeDocument/2006/relationships/customXml" Target="../customXml/item397.xml"/><Relationship Id="rId520" Type="http://schemas.openxmlformats.org/officeDocument/2006/relationships/customXml" Target="../customXml/item520.xml"/><Relationship Id="rId618" Type="http://schemas.openxmlformats.org/officeDocument/2006/relationships/customXml" Target="../customXml/item618.xml"/><Relationship Id="rId825" Type="http://schemas.openxmlformats.org/officeDocument/2006/relationships/customXml" Target="../customXml/item825.xml"/><Relationship Id="rId257" Type="http://schemas.openxmlformats.org/officeDocument/2006/relationships/customXml" Target="../customXml/item257.xml"/><Relationship Id="rId464" Type="http://schemas.openxmlformats.org/officeDocument/2006/relationships/customXml" Target="../customXml/item464.xml"/><Relationship Id="rId1010" Type="http://schemas.openxmlformats.org/officeDocument/2006/relationships/customXml" Target="../customXml/item1010.xml"/><Relationship Id="rId1094" Type="http://schemas.openxmlformats.org/officeDocument/2006/relationships/customXml" Target="../customXml/item1094.xml"/><Relationship Id="rId1108" Type="http://schemas.openxmlformats.org/officeDocument/2006/relationships/customXml" Target="../customXml/item1108.xml"/><Relationship Id="rId117" Type="http://schemas.openxmlformats.org/officeDocument/2006/relationships/customXml" Target="../customXml/item117.xml"/><Relationship Id="rId671" Type="http://schemas.openxmlformats.org/officeDocument/2006/relationships/customXml" Target="../customXml/item671.xml"/><Relationship Id="rId769" Type="http://schemas.openxmlformats.org/officeDocument/2006/relationships/customXml" Target="../customXml/item769.xml"/><Relationship Id="rId976" Type="http://schemas.openxmlformats.org/officeDocument/2006/relationships/customXml" Target="../customXml/item976.xml"/><Relationship Id="rId324" Type="http://schemas.openxmlformats.org/officeDocument/2006/relationships/customXml" Target="../customXml/item324.xml"/><Relationship Id="rId531" Type="http://schemas.openxmlformats.org/officeDocument/2006/relationships/customXml" Target="../customXml/item531.xml"/><Relationship Id="rId629" Type="http://schemas.openxmlformats.org/officeDocument/2006/relationships/customXml" Target="../customXml/item629.xml"/><Relationship Id="rId1161" Type="http://schemas.openxmlformats.org/officeDocument/2006/relationships/customXml" Target="../customXml/item1161.xml"/><Relationship Id="rId836" Type="http://schemas.openxmlformats.org/officeDocument/2006/relationships/customXml" Target="../customXml/item836.xml"/><Relationship Id="rId1021" Type="http://schemas.openxmlformats.org/officeDocument/2006/relationships/customXml" Target="../customXml/item1021.xml"/><Relationship Id="rId1119" Type="http://schemas.openxmlformats.org/officeDocument/2006/relationships/customXml" Target="../customXml/item1119.xml"/><Relationship Id="rId903" Type="http://schemas.openxmlformats.org/officeDocument/2006/relationships/customXml" Target="../customXml/item903.xml"/><Relationship Id="rId32" Type="http://schemas.openxmlformats.org/officeDocument/2006/relationships/customXml" Target="../customXml/item32.xml"/><Relationship Id="rId181" Type="http://schemas.openxmlformats.org/officeDocument/2006/relationships/customXml" Target="../customXml/item181.xml"/><Relationship Id="rId279" Type="http://schemas.openxmlformats.org/officeDocument/2006/relationships/customXml" Target="../customXml/item279.xml"/><Relationship Id="rId486" Type="http://schemas.openxmlformats.org/officeDocument/2006/relationships/customXml" Target="../customXml/item486.xml"/><Relationship Id="rId693" Type="http://schemas.openxmlformats.org/officeDocument/2006/relationships/customXml" Target="../customXml/item693.xml"/><Relationship Id="rId139" Type="http://schemas.openxmlformats.org/officeDocument/2006/relationships/customXml" Target="../customXml/item139.xml"/><Relationship Id="rId346" Type="http://schemas.openxmlformats.org/officeDocument/2006/relationships/customXml" Target="../customXml/item346.xml"/><Relationship Id="rId553" Type="http://schemas.openxmlformats.org/officeDocument/2006/relationships/customXml" Target="../customXml/item553.xml"/><Relationship Id="rId760" Type="http://schemas.openxmlformats.org/officeDocument/2006/relationships/customXml" Target="../customXml/item760.xml"/><Relationship Id="rId998" Type="http://schemas.openxmlformats.org/officeDocument/2006/relationships/customXml" Target="../customXml/item998.xml"/><Relationship Id="rId1183" Type="http://schemas.openxmlformats.org/officeDocument/2006/relationships/customXml" Target="../customXml/item1183.xml"/><Relationship Id="rId206" Type="http://schemas.openxmlformats.org/officeDocument/2006/relationships/customXml" Target="../customXml/item206.xml"/><Relationship Id="rId413" Type="http://schemas.openxmlformats.org/officeDocument/2006/relationships/customXml" Target="../customXml/item413.xml"/><Relationship Id="rId858" Type="http://schemas.openxmlformats.org/officeDocument/2006/relationships/customXml" Target="../customXml/item858.xml"/><Relationship Id="rId1043" Type="http://schemas.openxmlformats.org/officeDocument/2006/relationships/customXml" Target="../customXml/item1043.xml"/><Relationship Id="rId620" Type="http://schemas.openxmlformats.org/officeDocument/2006/relationships/customXml" Target="../customXml/item620.xml"/><Relationship Id="rId718" Type="http://schemas.openxmlformats.org/officeDocument/2006/relationships/customXml" Target="../customXml/item718.xml"/><Relationship Id="rId925" Type="http://schemas.openxmlformats.org/officeDocument/2006/relationships/customXml" Target="../customXml/item925.xml"/><Relationship Id="rId1110" Type="http://schemas.openxmlformats.org/officeDocument/2006/relationships/customXml" Target="../customXml/item1110.xml"/><Relationship Id="rId1208" Type="http://schemas.openxmlformats.org/officeDocument/2006/relationships/customXml" Target="../customXml/item1208.xml"/><Relationship Id="rId54" Type="http://schemas.openxmlformats.org/officeDocument/2006/relationships/customXml" Target="../customXml/item54.xml"/><Relationship Id="rId270" Type="http://schemas.openxmlformats.org/officeDocument/2006/relationships/customXml" Target="../customXml/item270.xml"/><Relationship Id="rId130" Type="http://schemas.openxmlformats.org/officeDocument/2006/relationships/customXml" Target="../customXml/item130.xml"/><Relationship Id="rId368" Type="http://schemas.openxmlformats.org/officeDocument/2006/relationships/customXml" Target="../customXml/item368.xml"/><Relationship Id="rId575" Type="http://schemas.openxmlformats.org/officeDocument/2006/relationships/customXml" Target="../customXml/item575.xml"/><Relationship Id="rId782" Type="http://schemas.openxmlformats.org/officeDocument/2006/relationships/customXml" Target="../customXml/item782.xml"/><Relationship Id="rId228" Type="http://schemas.openxmlformats.org/officeDocument/2006/relationships/customXml" Target="../customXml/item228.xml"/><Relationship Id="rId435" Type="http://schemas.openxmlformats.org/officeDocument/2006/relationships/customXml" Target="../customXml/item435.xml"/><Relationship Id="rId642" Type="http://schemas.openxmlformats.org/officeDocument/2006/relationships/customXml" Target="../customXml/item642.xml"/><Relationship Id="rId1065" Type="http://schemas.openxmlformats.org/officeDocument/2006/relationships/customXml" Target="../customXml/item1065.xml"/><Relationship Id="rId502" Type="http://schemas.openxmlformats.org/officeDocument/2006/relationships/customXml" Target="../customXml/item502.xml"/><Relationship Id="rId947" Type="http://schemas.openxmlformats.org/officeDocument/2006/relationships/customXml" Target="../customXml/item947.xml"/><Relationship Id="rId1132" Type="http://schemas.openxmlformats.org/officeDocument/2006/relationships/customXml" Target="../customXml/item1132.xml"/><Relationship Id="rId76" Type="http://schemas.openxmlformats.org/officeDocument/2006/relationships/customXml" Target="../customXml/item76.xml"/><Relationship Id="rId807" Type="http://schemas.openxmlformats.org/officeDocument/2006/relationships/customXml" Target="../customXml/item807.xml"/><Relationship Id="rId292" Type="http://schemas.openxmlformats.org/officeDocument/2006/relationships/customXml" Target="../customXml/item292.xml"/><Relationship Id="rId597" Type="http://schemas.openxmlformats.org/officeDocument/2006/relationships/customXml" Target="../customXml/item597.xml"/><Relationship Id="rId152" Type="http://schemas.openxmlformats.org/officeDocument/2006/relationships/customXml" Target="../customXml/item152.xml"/><Relationship Id="rId457" Type="http://schemas.openxmlformats.org/officeDocument/2006/relationships/customXml" Target="../customXml/item457.xml"/><Relationship Id="rId1087" Type="http://schemas.openxmlformats.org/officeDocument/2006/relationships/customXml" Target="../customXml/item1087.xml"/><Relationship Id="rId664" Type="http://schemas.openxmlformats.org/officeDocument/2006/relationships/customXml" Target="../customXml/item664.xml"/><Relationship Id="rId871" Type="http://schemas.openxmlformats.org/officeDocument/2006/relationships/customXml" Target="../customXml/item871.xml"/><Relationship Id="rId969" Type="http://schemas.openxmlformats.org/officeDocument/2006/relationships/customXml" Target="../customXml/item969.xml"/><Relationship Id="rId317" Type="http://schemas.openxmlformats.org/officeDocument/2006/relationships/customXml" Target="../customXml/item317.xml"/><Relationship Id="rId524" Type="http://schemas.openxmlformats.org/officeDocument/2006/relationships/customXml" Target="../customXml/item524.xml"/><Relationship Id="rId731" Type="http://schemas.openxmlformats.org/officeDocument/2006/relationships/customXml" Target="../customXml/item731.xml"/><Relationship Id="rId1154" Type="http://schemas.openxmlformats.org/officeDocument/2006/relationships/customXml" Target="../customXml/item1154.xml"/><Relationship Id="rId98" Type="http://schemas.openxmlformats.org/officeDocument/2006/relationships/customXml" Target="../customXml/item98.xml"/><Relationship Id="rId829" Type="http://schemas.openxmlformats.org/officeDocument/2006/relationships/customXml" Target="../customXml/item829.xml"/><Relationship Id="rId1014" Type="http://schemas.openxmlformats.org/officeDocument/2006/relationships/customXml" Target="../customXml/item1014.xml"/><Relationship Id="rId1221" Type="http://schemas.openxmlformats.org/officeDocument/2006/relationships/slide" Target="slides/slide5.xml"/><Relationship Id="rId25" Type="http://schemas.openxmlformats.org/officeDocument/2006/relationships/customXml" Target="../customXml/item25.xml"/><Relationship Id="rId174" Type="http://schemas.openxmlformats.org/officeDocument/2006/relationships/customXml" Target="../customXml/item174.xml"/><Relationship Id="rId381" Type="http://schemas.openxmlformats.org/officeDocument/2006/relationships/customXml" Target="../customXml/item381.xml"/><Relationship Id="rId241" Type="http://schemas.openxmlformats.org/officeDocument/2006/relationships/customXml" Target="../customXml/item241.xml"/><Relationship Id="rId479" Type="http://schemas.openxmlformats.org/officeDocument/2006/relationships/customXml" Target="../customXml/item479.xml"/><Relationship Id="rId686" Type="http://schemas.openxmlformats.org/officeDocument/2006/relationships/customXml" Target="../customXml/item686.xml"/><Relationship Id="rId893" Type="http://schemas.openxmlformats.org/officeDocument/2006/relationships/customXml" Target="../customXml/item893.xml"/><Relationship Id="rId339" Type="http://schemas.openxmlformats.org/officeDocument/2006/relationships/customXml" Target="../customXml/item339.xml"/><Relationship Id="rId546" Type="http://schemas.openxmlformats.org/officeDocument/2006/relationships/customXml" Target="../customXml/item546.xml"/><Relationship Id="rId753" Type="http://schemas.openxmlformats.org/officeDocument/2006/relationships/customXml" Target="../customXml/item753.xml"/><Relationship Id="rId1176" Type="http://schemas.openxmlformats.org/officeDocument/2006/relationships/customXml" Target="../customXml/item1176.xml"/><Relationship Id="rId101" Type="http://schemas.openxmlformats.org/officeDocument/2006/relationships/customXml" Target="../customXml/item101.xml"/><Relationship Id="rId406" Type="http://schemas.openxmlformats.org/officeDocument/2006/relationships/customXml" Target="../customXml/item406.xml"/><Relationship Id="rId960" Type="http://schemas.openxmlformats.org/officeDocument/2006/relationships/customXml" Target="../customXml/item960.xml"/><Relationship Id="rId1036" Type="http://schemas.openxmlformats.org/officeDocument/2006/relationships/customXml" Target="../customXml/item1036.xml"/><Relationship Id="rId613" Type="http://schemas.openxmlformats.org/officeDocument/2006/relationships/customXml" Target="../customXml/item613.xml"/><Relationship Id="rId820" Type="http://schemas.openxmlformats.org/officeDocument/2006/relationships/customXml" Target="../customXml/item820.xml"/><Relationship Id="rId918" Type="http://schemas.openxmlformats.org/officeDocument/2006/relationships/customXml" Target="../customXml/item918.xml"/><Relationship Id="rId1103" Type="http://schemas.openxmlformats.org/officeDocument/2006/relationships/customXml" Target="../customXml/item1103.xml"/><Relationship Id="rId47" Type="http://schemas.openxmlformats.org/officeDocument/2006/relationships/customXml" Target="../customXml/item47.xml"/><Relationship Id="rId196" Type="http://schemas.openxmlformats.org/officeDocument/2006/relationships/customXml" Target="../customXml/item196.xml"/><Relationship Id="rId263" Type="http://schemas.openxmlformats.org/officeDocument/2006/relationships/customXml" Target="../customXml/item263.xml"/><Relationship Id="rId470" Type="http://schemas.openxmlformats.org/officeDocument/2006/relationships/customXml" Target="../customXml/item470.xml"/><Relationship Id="rId123" Type="http://schemas.openxmlformats.org/officeDocument/2006/relationships/customXml" Target="../customXml/item123.xml"/><Relationship Id="rId330" Type="http://schemas.openxmlformats.org/officeDocument/2006/relationships/customXml" Target="../customXml/item330.xml"/><Relationship Id="rId568" Type="http://schemas.openxmlformats.org/officeDocument/2006/relationships/customXml" Target="../customXml/item568.xml"/><Relationship Id="rId775" Type="http://schemas.openxmlformats.org/officeDocument/2006/relationships/customXml" Target="../customXml/item775.xml"/><Relationship Id="rId982" Type="http://schemas.openxmlformats.org/officeDocument/2006/relationships/customXml" Target="../customXml/item982.xml"/><Relationship Id="rId1198" Type="http://schemas.openxmlformats.org/officeDocument/2006/relationships/customXml" Target="../customXml/item1198.xml"/><Relationship Id="rId428" Type="http://schemas.openxmlformats.org/officeDocument/2006/relationships/customXml" Target="../customXml/item428.xml"/><Relationship Id="rId635" Type="http://schemas.openxmlformats.org/officeDocument/2006/relationships/customXml" Target="../customXml/item635.xml"/><Relationship Id="rId842" Type="http://schemas.openxmlformats.org/officeDocument/2006/relationships/customXml" Target="../customXml/item842.xml"/><Relationship Id="rId1058" Type="http://schemas.openxmlformats.org/officeDocument/2006/relationships/customXml" Target="../customXml/item1058.xml"/><Relationship Id="rId702" Type="http://schemas.openxmlformats.org/officeDocument/2006/relationships/customXml" Target="../customXml/item702.xml"/><Relationship Id="rId1125" Type="http://schemas.openxmlformats.org/officeDocument/2006/relationships/customXml" Target="../customXml/item1125.xml"/><Relationship Id="rId69" Type="http://schemas.openxmlformats.org/officeDocument/2006/relationships/customXml" Target="../customXml/item69.xml"/><Relationship Id="rId285" Type="http://schemas.openxmlformats.org/officeDocument/2006/relationships/customXml" Target="../customXml/item285.xml"/><Relationship Id="rId492" Type="http://schemas.openxmlformats.org/officeDocument/2006/relationships/customXml" Target="../customXml/item492.xml"/><Relationship Id="rId797" Type="http://schemas.openxmlformats.org/officeDocument/2006/relationships/customXml" Target="../customXml/item797.xml"/><Relationship Id="rId145" Type="http://schemas.openxmlformats.org/officeDocument/2006/relationships/customXml" Target="../customXml/item145.xml"/><Relationship Id="rId352" Type="http://schemas.openxmlformats.org/officeDocument/2006/relationships/customXml" Target="../customXml/item352.xml"/><Relationship Id="rId212" Type="http://schemas.openxmlformats.org/officeDocument/2006/relationships/customXml" Target="../customXml/item212.xml"/><Relationship Id="rId657" Type="http://schemas.openxmlformats.org/officeDocument/2006/relationships/customXml" Target="../customXml/item657.xml"/><Relationship Id="rId864" Type="http://schemas.openxmlformats.org/officeDocument/2006/relationships/customXml" Target="../customXml/item864.xml"/><Relationship Id="rId517" Type="http://schemas.openxmlformats.org/officeDocument/2006/relationships/customXml" Target="../customXml/item517.xml"/><Relationship Id="rId724" Type="http://schemas.openxmlformats.org/officeDocument/2006/relationships/customXml" Target="../customXml/item724.xml"/><Relationship Id="rId931" Type="http://schemas.openxmlformats.org/officeDocument/2006/relationships/customXml" Target="../customXml/item931.xml"/><Relationship Id="rId1147" Type="http://schemas.openxmlformats.org/officeDocument/2006/relationships/customXml" Target="../customXml/item1147.xml"/><Relationship Id="rId60" Type="http://schemas.openxmlformats.org/officeDocument/2006/relationships/customXml" Target="../customXml/item60.xml"/><Relationship Id="rId1007" Type="http://schemas.openxmlformats.org/officeDocument/2006/relationships/customXml" Target="../customXml/item1007.xml"/><Relationship Id="rId1214" Type="http://schemas.openxmlformats.org/officeDocument/2006/relationships/slideMaster" Target="slideMasters/slideMaster3.xml"/><Relationship Id="rId18" Type="http://schemas.openxmlformats.org/officeDocument/2006/relationships/customXml" Target="../customXml/item18.xml"/><Relationship Id="rId167" Type="http://schemas.openxmlformats.org/officeDocument/2006/relationships/customXml" Target="../customXml/item167.xml"/><Relationship Id="rId374" Type="http://schemas.openxmlformats.org/officeDocument/2006/relationships/customXml" Target="../customXml/item374.xml"/><Relationship Id="rId581" Type="http://schemas.openxmlformats.org/officeDocument/2006/relationships/customXml" Target="../customXml/item581.xml"/><Relationship Id="rId234" Type="http://schemas.openxmlformats.org/officeDocument/2006/relationships/customXml" Target="../customXml/item234.xml"/><Relationship Id="rId679" Type="http://schemas.openxmlformats.org/officeDocument/2006/relationships/customXml" Target="../customXml/item679.xml"/><Relationship Id="rId886" Type="http://schemas.openxmlformats.org/officeDocument/2006/relationships/customXml" Target="../customXml/item886.xml"/><Relationship Id="rId2" Type="http://schemas.openxmlformats.org/officeDocument/2006/relationships/customXml" Target="../customXml/item2.xml"/><Relationship Id="rId441" Type="http://schemas.openxmlformats.org/officeDocument/2006/relationships/customXml" Target="../customXml/item441.xml"/><Relationship Id="rId539" Type="http://schemas.openxmlformats.org/officeDocument/2006/relationships/customXml" Target="../customXml/item539.xml"/><Relationship Id="rId746" Type="http://schemas.openxmlformats.org/officeDocument/2006/relationships/customXml" Target="../customXml/item746.xml"/><Relationship Id="rId1071" Type="http://schemas.openxmlformats.org/officeDocument/2006/relationships/customXml" Target="../customXml/item1071.xml"/><Relationship Id="rId1169" Type="http://schemas.openxmlformats.org/officeDocument/2006/relationships/customXml" Target="../customXml/item116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60586816039104E-2"/>
          <c:y val="3.0408706511141841E-2"/>
          <c:w val="0.97507882636792176"/>
          <c:h val="0.82252851986219655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nsumer Confidence Index (CCI)</c:v>
                </c:pt>
              </c:strCache>
            </c:strRef>
          </c:tx>
          <c:spPr>
            <a:ln w="76200" cap="rnd">
              <a:solidFill>
                <a:srgbClr val="2A69A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76200">
                <a:solidFill>
                  <a:srgbClr val="2A69A2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3.4051385426375959E-2"/>
                  <c:y val="-4.28279531109499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597-4A68-8FB5-83F2BF6BBA9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P$1</c:f>
              <c:strCache>
                <c:ptCount val="15"/>
                <c:pt idx="0">
                  <c:v>Jan'22</c:v>
                </c:pt>
                <c:pt idx="1">
                  <c:v>Feb'22</c:v>
                </c:pt>
                <c:pt idx="2">
                  <c:v>Mar'22</c:v>
                </c:pt>
                <c:pt idx="3">
                  <c:v>Apr'22</c:v>
                </c:pt>
                <c:pt idx="4">
                  <c:v>May'22</c:v>
                </c:pt>
                <c:pt idx="5">
                  <c:v>Jun'22</c:v>
                </c:pt>
                <c:pt idx="6">
                  <c:v>Jul'22</c:v>
                </c:pt>
                <c:pt idx="7">
                  <c:v>Aug'22</c:v>
                </c:pt>
                <c:pt idx="8">
                  <c:v>Sep'22</c:v>
                </c:pt>
                <c:pt idx="9">
                  <c:v>Oct'22</c:v>
                </c:pt>
                <c:pt idx="10">
                  <c:v>Nov'22</c:v>
                </c:pt>
                <c:pt idx="11">
                  <c:v>Dec'22</c:v>
                </c:pt>
                <c:pt idx="12">
                  <c:v>Jan'23</c:v>
                </c:pt>
                <c:pt idx="13">
                  <c:v>Feb'23</c:v>
                </c:pt>
                <c:pt idx="14">
                  <c:v>Mar'23</c:v>
                </c:pt>
              </c:strCache>
            </c:strRef>
          </c:cat>
          <c:val>
            <c:numRef>
              <c:f>Sheet1!$B$2:$P$2</c:f>
              <c:numCache>
                <c:formatCode>General</c:formatCode>
                <c:ptCount val="15"/>
                <c:pt idx="0">
                  <c:v>62.3</c:v>
                </c:pt>
                <c:pt idx="1">
                  <c:v>64.099999999999994</c:v>
                </c:pt>
                <c:pt idx="2">
                  <c:v>92.4</c:v>
                </c:pt>
                <c:pt idx="3">
                  <c:v>85.6</c:v>
                </c:pt>
                <c:pt idx="4">
                  <c:v>84.5</c:v>
                </c:pt>
                <c:pt idx="5">
                  <c:v>72.2</c:v>
                </c:pt>
                <c:pt idx="6">
                  <c:v>73.2</c:v>
                </c:pt>
                <c:pt idx="7">
                  <c:v>75.599999999999994</c:v>
                </c:pt>
                <c:pt idx="8">
                  <c:v>86</c:v>
                </c:pt>
                <c:pt idx="9">
                  <c:v>83.6</c:v>
                </c:pt>
                <c:pt idx="10">
                  <c:v>85.2</c:v>
                </c:pt>
                <c:pt idx="11">
                  <c:v>83.9</c:v>
                </c:pt>
                <c:pt idx="12">
                  <c:v>83.8</c:v>
                </c:pt>
                <c:pt idx="13">
                  <c:v>86.5</c:v>
                </c:pt>
                <c:pt idx="14">
                  <c:v>91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8F-4C10-8835-534CD6D0770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131733200"/>
        <c:axId val="1131734032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$A$3</c15:sqref>
                        </c15:formulaRef>
                      </c:ext>
                    </c:extLst>
                    <c:strCache>
                      <c:ptCount val="1"/>
                      <c:pt idx="0">
                        <c:v>Index of the Current Situation (ICS)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/>
                    </a:solidFill>
                    <a:ln w="9525">
                      <a:solidFill>
                        <a:schemeClr val="accent2"/>
                      </a:solidFill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B$1:$P$1</c15:sqref>
                        </c15:formulaRef>
                      </c:ext>
                    </c:extLst>
                    <c:strCache>
                      <c:ptCount val="15"/>
                      <c:pt idx="0">
                        <c:v>Jan'22</c:v>
                      </c:pt>
                      <c:pt idx="1">
                        <c:v>Feb'22</c:v>
                      </c:pt>
                      <c:pt idx="2">
                        <c:v>Mar'22</c:v>
                      </c:pt>
                      <c:pt idx="3">
                        <c:v>Apr'22</c:v>
                      </c:pt>
                      <c:pt idx="4">
                        <c:v>May'22</c:v>
                      </c:pt>
                      <c:pt idx="5">
                        <c:v>Jun'22</c:v>
                      </c:pt>
                      <c:pt idx="6">
                        <c:v>Jul'22</c:v>
                      </c:pt>
                      <c:pt idx="7">
                        <c:v>Aug'22</c:v>
                      </c:pt>
                      <c:pt idx="8">
                        <c:v>Sep'22</c:v>
                      </c:pt>
                      <c:pt idx="9">
                        <c:v>Oct'22</c:v>
                      </c:pt>
                      <c:pt idx="10">
                        <c:v>Nov'22</c:v>
                      </c:pt>
                      <c:pt idx="11">
                        <c:v>Dec'22</c:v>
                      </c:pt>
                      <c:pt idx="12">
                        <c:v>Jan'23</c:v>
                      </c:pt>
                      <c:pt idx="13">
                        <c:v>Feb'23</c:v>
                      </c:pt>
                      <c:pt idx="14">
                        <c:v>Mar'23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3:$P$3</c15:sqref>
                        </c15:formulaRef>
                      </c:ext>
                    </c:extLst>
                    <c:numCache>
                      <c:formatCode>General</c:formatCode>
                      <c:ptCount val="15"/>
                      <c:pt idx="0">
                        <c:v>60.4</c:v>
                      </c:pt>
                      <c:pt idx="1">
                        <c:v>61.1</c:v>
                      </c:pt>
                      <c:pt idx="2">
                        <c:v>49.9</c:v>
                      </c:pt>
                      <c:pt idx="3">
                        <c:v>43.4</c:v>
                      </c:pt>
                      <c:pt idx="4">
                        <c:v>40.9</c:v>
                      </c:pt>
                      <c:pt idx="5">
                        <c:v>38.299999999999997</c:v>
                      </c:pt>
                      <c:pt idx="6">
                        <c:v>37.200000000000003</c:v>
                      </c:pt>
                      <c:pt idx="7">
                        <c:v>38.9</c:v>
                      </c:pt>
                      <c:pt idx="8">
                        <c:v>45.2</c:v>
                      </c:pt>
                      <c:pt idx="9">
                        <c:v>42.4</c:v>
                      </c:pt>
                      <c:pt idx="10">
                        <c:v>44.7</c:v>
                      </c:pt>
                      <c:pt idx="11">
                        <c:v>40.9</c:v>
                      </c:pt>
                      <c:pt idx="12">
                        <c:v>46.4</c:v>
                      </c:pt>
                      <c:pt idx="13">
                        <c:v>48.1</c:v>
                      </c:pt>
                      <c:pt idx="14">
                        <c:v>51.4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7D8F-4C10-8835-534CD6D07707}"/>
                  </c:ext>
                </c:extLst>
              </c15:ser>
            </c15:filteredLineSeries>
          </c:ext>
        </c:extLst>
      </c:lineChart>
      <c:catAx>
        <c:axId val="113173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1734032"/>
        <c:crosses val="autoZero"/>
        <c:auto val="1"/>
        <c:lblAlgn val="ctr"/>
        <c:lblOffset val="100"/>
        <c:noMultiLvlLbl val="0"/>
      </c:catAx>
      <c:valAx>
        <c:axId val="1131734032"/>
        <c:scaling>
          <c:orientation val="minMax"/>
          <c:min val="60"/>
        </c:scaling>
        <c:delete val="1"/>
        <c:axPos val="l"/>
        <c:numFmt formatCode="General" sourceLinked="1"/>
        <c:majorTickMark val="out"/>
        <c:minorTickMark val="none"/>
        <c:tickLblPos val="nextTo"/>
        <c:crossAx val="1131733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DP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754-45B1-8238-871104FFE3BF}"/>
              </c:ext>
            </c:extLst>
          </c:dPt>
          <c:dPt>
            <c:idx val="9"/>
            <c:invertIfNegative val="0"/>
            <c:bubble3D val="0"/>
            <c:spPr>
              <a:solidFill>
                <a:srgbClr val="00B0F0"/>
              </a:solidFill>
              <a:ln w="38100">
                <a:noFill/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3-8754-45B1-8238-871104FFE3BF}"/>
              </c:ext>
            </c:extLst>
          </c:dPt>
          <c:dPt>
            <c:idx val="10"/>
            <c:invertIfNegative val="0"/>
            <c:bubble3D val="0"/>
            <c:spPr>
              <a:solidFill>
                <a:srgbClr val="FFFFFF"/>
              </a:solidFill>
              <a:ln w="38100">
                <a:solidFill>
                  <a:srgbClr val="00B0F0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5-8754-45B1-8238-871104FFE3BF}"/>
              </c:ext>
            </c:extLst>
          </c:dPt>
          <c:dPt>
            <c:idx val="11"/>
            <c:invertIfNegative val="0"/>
            <c:bubble3D val="0"/>
            <c:spPr>
              <a:solidFill>
                <a:srgbClr val="FFFFFF"/>
              </a:solidFill>
              <a:ln w="38100">
                <a:solidFill>
                  <a:srgbClr val="00B0F0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7-8754-45B1-8238-871104FFE3BF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M$1</c:f>
              <c:strCache>
                <c:ptCount val="12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</c:strCache>
            </c:strRef>
          </c:cat>
          <c:val>
            <c:numRef>
              <c:f>Sheet1!$B$2:$M$2</c:f>
              <c:numCache>
                <c:formatCode>General</c:formatCode>
                <c:ptCount val="12"/>
                <c:pt idx="0">
                  <c:v>2.1</c:v>
                </c:pt>
                <c:pt idx="1">
                  <c:v>49.136492171673552</c:v>
                </c:pt>
                <c:pt idx="2">
                  <c:v>81.760106997552342</c:v>
                </c:pt>
                <c:pt idx="3">
                  <c:v>15.72772596204719</c:v>
                </c:pt>
                <c:pt idx="4">
                  <c:v>3.9373922098207226</c:v>
                </c:pt>
                <c:pt idx="5">
                  <c:v>2.2605667294311793</c:v>
                </c:pt>
                <c:pt idx="6">
                  <c:v>-4.986514540969555</c:v>
                </c:pt>
                <c:pt idx="7">
                  <c:v>4.4006148036205062</c:v>
                </c:pt>
                <c:pt idx="8">
                  <c:v>1.061728395061734</c:v>
                </c:pt>
                <c:pt idx="9">
                  <c:v>19.243097972147581</c:v>
                </c:pt>
                <c:pt idx="10">
                  <c:v>17.5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754-45B1-8238-871104FFE3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overlap val="-27"/>
        <c:axId val="886524879"/>
        <c:axId val="886526543"/>
      </c:barChart>
      <c:catAx>
        <c:axId val="8865248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00B0F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6526543"/>
        <c:crosses val="autoZero"/>
        <c:auto val="1"/>
        <c:lblAlgn val="ctr"/>
        <c:lblOffset val="100"/>
        <c:noMultiLvlLbl val="0"/>
      </c:catAx>
      <c:valAx>
        <c:axId val="886526543"/>
        <c:scaling>
          <c:orientation val="minMax"/>
          <c:max val="85"/>
          <c:min val="-15"/>
        </c:scaling>
        <c:delete val="1"/>
        <c:axPos val="l"/>
        <c:numFmt formatCode="General" sourceLinked="1"/>
        <c:majorTickMark val="out"/>
        <c:minorTickMark val="none"/>
        <c:tickLblPos val="nextTo"/>
        <c:crossAx val="88652487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531-4F53-8054-07DC4938462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531-4F53-8054-07DC49384621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531-4F53-8054-07DC4938462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5E8-4F2F-95AC-9A283957F95E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05E8-4F2F-95AC-9A283957F95E}"/>
              </c:ext>
            </c:extLst>
          </c:dPt>
          <c:dLbls>
            <c:dLbl>
              <c:idx val="2"/>
              <c:layout>
                <c:manualLayout>
                  <c:x val="9.5972952252699681E-3"/>
                  <c:y val="4.344054596899097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531-4F53-8054-07DC4938462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Nestle Text TF AR Book" panose="00000500000000000000" pitchFamily="2" charset="0"/>
                    <a:ea typeface="+mn-ea"/>
                    <a:cs typeface="Nestle Text TF AR Book" panose="00000500000000000000" pitchFamily="2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Yes I will relocate to another locality within the oblas</c:v>
                </c:pt>
                <c:pt idx="1">
                  <c:v>Yes I will relocate to another oblast of Ukraine</c:v>
                </c:pt>
                <c:pt idx="2">
                  <c:v>Yes I will relocate abroad</c:v>
                </c:pt>
                <c:pt idx="3">
                  <c:v>No, will stay at my current place of residence</c:v>
                </c:pt>
                <c:pt idx="4">
                  <c:v>Not sure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06</c:v>
                </c:pt>
                <c:pt idx="1">
                  <c:v>0.05</c:v>
                </c:pt>
                <c:pt idx="2">
                  <c:v>0.03</c:v>
                </c:pt>
                <c:pt idx="3">
                  <c:v>0.65</c:v>
                </c:pt>
                <c:pt idx="4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E8-4F2F-95AC-9A283957F9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292"/>
        <c:holeSize val="65"/>
      </c:doughnut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1.3636363636363636E-2"/>
          <c:y val="0.29955331783067052"/>
          <c:w val="0.41293092340730136"/>
          <c:h val="0.593849249845142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Nestle Text TF AR Book" panose="00000500000000000000" pitchFamily="2" charset="0"/>
              <a:ea typeface="+mn-ea"/>
              <a:cs typeface="Nestle Text TF AR Book" panose="00000500000000000000" pitchFamily="2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Nestle Text TF AR Book" panose="00000500000000000000" pitchFamily="2" charset="0"/>
          <a:cs typeface="Nestle Text TF AR Book" panose="00000500000000000000" pitchFamily="2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824007753406713"/>
          <c:y val="2.0776574692032417E-2"/>
          <c:w val="0.4706153094623915"/>
          <c:h val="0.7915532987161620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D89-473B-89CF-62601CFE8FB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89-473B-89CF-62601CFE8FB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D89-473B-89CF-62601CFE8FB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War will become a factor of rapid growth and development of Ukraine</c:v>
                </c:pt>
                <c:pt idx="1">
                  <c:v>War will become a factor of crisis exhaustion of Ukraine </c:v>
                </c:pt>
                <c:pt idx="2">
                  <c:v>Difficult to anse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1</c:v>
                </c:pt>
                <c:pt idx="1">
                  <c:v>0.21</c:v>
                </c:pt>
                <c:pt idx="2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D89-473B-89CF-62601CFE8FB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343"/>
        <c:holeSize val="65"/>
      </c:doughnut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1.3636363636363636E-2"/>
          <c:y val="0.18264826284333888"/>
          <c:w val="0.41293092340730136"/>
          <c:h val="0.638852745442505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Nestle Text TF AR Book" panose="00000500000000000000" pitchFamily="2" charset="0"/>
              <a:ea typeface="+mn-ea"/>
              <a:cs typeface="Nestle Text TF AR Book" panose="00000500000000000000" pitchFamily="2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/>
              <a:t>Business </a:t>
            </a:r>
          </a:p>
          <a:p>
            <a:pPr>
              <a:defRPr sz="1800"/>
            </a:pPr>
            <a:r>
              <a:rPr lang="en-US" sz="1800"/>
              <a:t>activity </a:t>
            </a:r>
          </a:p>
        </c:rich>
      </c:tx>
      <c:layout>
        <c:manualLayout>
          <c:xMode val="edge"/>
          <c:yMode val="edge"/>
          <c:x val="0.20065292400247722"/>
          <c:y val="0.55341788544161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0441696894629752E-2"/>
          <c:y val="0.31131246469458024"/>
          <c:w val="0.42886368110236223"/>
          <c:h val="0.643295482080740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Business activity comparing to pre war period</c:v>
                </c:pt>
              </c:strCache>
            </c:strRef>
          </c:tx>
          <c:spPr>
            <a:ln w="38100" cmpd="sng"/>
          </c:spPr>
          <c:dPt>
            <c:idx val="0"/>
            <c:bubble3D val="0"/>
            <c:spPr>
              <a:solidFill>
                <a:schemeClr val="accent1"/>
              </a:solidFill>
              <a:ln w="38100" cmpd="sng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A55-4E4B-9843-15E5055F4A1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38100" cmpd="sng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A55-4E4B-9843-15E5055F4A1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 cmpd="sng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A55-4E4B-9843-15E5055F4A1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 cmpd="sng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A55-4E4B-9843-15E5055F4A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Not working</c:v>
                </c:pt>
                <c:pt idx="1">
                  <c:v>Working less then 50%</c:v>
                </c:pt>
                <c:pt idx="2">
                  <c:v>Working 50-90%</c:v>
                </c:pt>
                <c:pt idx="3">
                  <c:v>Working at full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2</c:v>
                </c:pt>
                <c:pt idx="1">
                  <c:v>50</c:v>
                </c:pt>
                <c:pt idx="2">
                  <c:v>23</c:v>
                </c:pt>
                <c:pt idx="3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CE-4110-B63F-9DC6BB8AA4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8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3817592674511194"/>
          <c:y val="0.35271360831615906"/>
          <c:w val="0.37209656728302226"/>
          <c:h val="0.603148768918558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/>
              <a:t>Number of </a:t>
            </a:r>
          </a:p>
          <a:p>
            <a:pPr>
              <a:defRPr sz="1800"/>
            </a:pPr>
            <a:r>
              <a:rPr lang="en-US" sz="1800"/>
              <a:t>employees</a:t>
            </a:r>
          </a:p>
        </c:rich>
      </c:tx>
      <c:layout>
        <c:manualLayout>
          <c:xMode val="edge"/>
          <c:yMode val="edge"/>
          <c:x val="0.16975404759798285"/>
          <c:y val="0.532385757480508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0441696894629752E-2"/>
          <c:y val="0.31131246469458024"/>
          <c:w val="0.42886368110236223"/>
          <c:h val="0.643295482080740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employees comparing to pre war period</c:v>
                </c:pt>
              </c:strCache>
            </c:strRef>
          </c:tx>
          <c:spPr>
            <a:ln w="38100" cmpd="sng"/>
          </c:spPr>
          <c:dPt>
            <c:idx val="0"/>
            <c:bubble3D val="0"/>
            <c:spPr>
              <a:solidFill>
                <a:schemeClr val="accent1"/>
              </a:solidFill>
              <a:ln w="38100" cmpd="sng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5CE-4355-A4FA-88A9554BC93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38100" cmpd="sng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5CE-4355-A4FA-88A9554BC93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 cmpd="sng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5CE-4355-A4FA-88A9554BC93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 cmpd="sng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5CE-4355-A4FA-88A9554BC93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38100" cmpd="sng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F79-4306-B8E5-565C85E65B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Reduced more than 60%</c:v>
                </c:pt>
                <c:pt idx="1">
                  <c:v>Reduced by 30-60%</c:v>
                </c:pt>
                <c:pt idx="2">
                  <c:v>Reduced less than 30%</c:v>
                </c:pt>
                <c:pt idx="3">
                  <c:v>No reduction</c:v>
                </c:pt>
                <c:pt idx="4">
                  <c:v>Increased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6</c:v>
                </c:pt>
                <c:pt idx="1">
                  <c:v>24</c:v>
                </c:pt>
                <c:pt idx="2">
                  <c:v>23</c:v>
                </c:pt>
                <c:pt idx="3">
                  <c:v>27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5CE-4355-A4FA-88A9554BC9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8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3817592674511194"/>
          <c:y val="0.35271360831615906"/>
          <c:w val="0.37209656728302226"/>
          <c:h val="0.603148768918558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/>
              <a:t>Salary</a:t>
            </a:r>
          </a:p>
          <a:p>
            <a:pPr>
              <a:defRPr sz="1800"/>
            </a:pPr>
            <a:r>
              <a:rPr lang="en-US" sz="1800"/>
              <a:t> change</a:t>
            </a:r>
          </a:p>
        </c:rich>
      </c:tx>
      <c:layout>
        <c:manualLayout>
          <c:xMode val="edge"/>
          <c:yMode val="edge"/>
          <c:x val="0.20065292400247722"/>
          <c:y val="0.553417885441615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0441696894629752E-2"/>
          <c:y val="0.31131246469458024"/>
          <c:w val="0.42886368110236223"/>
          <c:h val="0.643295482080740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ary change</c:v>
                </c:pt>
              </c:strCache>
            </c:strRef>
          </c:tx>
          <c:spPr>
            <a:ln w="38100" cmpd="sng"/>
          </c:spPr>
          <c:dPt>
            <c:idx val="0"/>
            <c:bubble3D val="0"/>
            <c:spPr>
              <a:solidFill>
                <a:schemeClr val="accent1"/>
              </a:solidFill>
              <a:ln w="38100" cmpd="sng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18F-4B68-AF4C-64CFA61053E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38100" cmpd="sng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18F-4B68-AF4C-64CFA61053E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 cmpd="sng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18F-4B68-AF4C-64CFA61053E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 cmpd="sng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18F-4B68-AF4C-64CFA61053E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Kept at the same level</c:v>
                </c:pt>
                <c:pt idx="1">
                  <c:v>Reduced by 30% or less</c:v>
                </c:pt>
                <c:pt idx="2">
                  <c:v>Reduced by 30-50%</c:v>
                </c:pt>
                <c:pt idx="3">
                  <c:v>Reduced more than 50%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9</c:v>
                </c:pt>
                <c:pt idx="1">
                  <c:v>25</c:v>
                </c:pt>
                <c:pt idx="2">
                  <c:v>19</c:v>
                </c:pt>
                <c:pt idx="3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18F-4B68-AF4C-64CFA61053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8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3817592674511194"/>
          <c:y val="0.35271360831615906"/>
          <c:w val="0.37209656728302226"/>
          <c:h val="0.603148768918558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DP</c:v>
                </c:pt>
              </c:strCache>
            </c:strRef>
          </c:tx>
          <c:spPr>
            <a:pattFill prst="dkDnDiag">
              <a:fgClr>
                <a:srgbClr val="CE0037"/>
              </a:fgClr>
              <a:bgClr>
                <a:schemeClr val="bg1"/>
              </a:bgClr>
            </a:pattFill>
            <a:ln>
              <a:solidFill>
                <a:srgbClr val="CE0037"/>
              </a:solidFill>
            </a:ln>
            <a:effectLst/>
          </c:spPr>
          <c:invertIfNegative val="0"/>
          <c:dPt>
            <c:idx val="7"/>
            <c:invertIfNegative val="0"/>
            <c:bubble3D val="0"/>
            <c:spPr>
              <a:pattFill prst="dkDnDiag">
                <a:fgClr>
                  <a:srgbClr val="CE0037"/>
                </a:fgClr>
                <a:bgClr>
                  <a:schemeClr val="bg1"/>
                </a:bgClr>
              </a:pattFill>
              <a:ln>
                <a:solidFill>
                  <a:srgbClr val="CE0037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955-40E6-BBBA-AE2BD6397766}"/>
              </c:ext>
            </c:extLst>
          </c:dPt>
          <c:dPt>
            <c:idx val="9"/>
            <c:invertIfNegative val="0"/>
            <c:bubble3D val="0"/>
            <c:spPr>
              <a:pattFill prst="dkDnDiag">
                <a:fgClr>
                  <a:srgbClr val="CE0037"/>
                </a:fgClr>
                <a:bgClr>
                  <a:schemeClr val="bg1"/>
                </a:bgClr>
              </a:pattFill>
              <a:ln w="9525">
                <a:solidFill>
                  <a:srgbClr val="CE0037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3-4955-40E6-BBBA-AE2BD6397766}"/>
              </c:ext>
            </c:extLst>
          </c:dPt>
          <c:dPt>
            <c:idx val="10"/>
            <c:invertIfNegative val="0"/>
            <c:bubble3D val="0"/>
            <c:spPr>
              <a:noFill/>
              <a:ln w="38100">
                <a:solidFill>
                  <a:srgbClr val="CE0037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5-4955-40E6-BBBA-AE2BD6397766}"/>
              </c:ext>
            </c:extLst>
          </c:dPt>
          <c:dPt>
            <c:idx val="11"/>
            <c:invertIfNegative val="0"/>
            <c:bubble3D val="0"/>
            <c:spPr>
              <a:noFill/>
              <a:ln w="38100">
                <a:solidFill>
                  <a:srgbClr val="CE0037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7-4955-40E6-BBBA-AE2BD639776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M$1</c:f>
              <c:strCache>
                <c:ptCount val="12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</c:strCache>
            </c:strRef>
          </c:cat>
          <c:val>
            <c:numRef>
              <c:f>Sheet1!$B$2:$M$2</c:f>
              <c:numCache>
                <c:formatCode>General</c:formatCode>
                <c:ptCount val="12"/>
                <c:pt idx="0">
                  <c:v>0.5</c:v>
                </c:pt>
                <c:pt idx="1">
                  <c:v>24.9</c:v>
                </c:pt>
                <c:pt idx="2">
                  <c:v>43.3</c:v>
                </c:pt>
                <c:pt idx="3">
                  <c:v>12.4</c:v>
                </c:pt>
                <c:pt idx="4">
                  <c:v>13.700000000000001</c:v>
                </c:pt>
                <c:pt idx="5">
                  <c:v>9.8000000000000007</c:v>
                </c:pt>
                <c:pt idx="6">
                  <c:v>4.1000000000000005</c:v>
                </c:pt>
                <c:pt idx="7">
                  <c:v>5</c:v>
                </c:pt>
                <c:pt idx="8">
                  <c:v>10</c:v>
                </c:pt>
                <c:pt idx="9">
                  <c:v>26.6</c:v>
                </c:pt>
                <c:pt idx="10">
                  <c:v>16.2</c:v>
                </c:pt>
                <c:pt idx="11">
                  <c:v>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955-40E6-BBBA-AE2BD63977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overlap val="-27"/>
        <c:axId val="886524879"/>
        <c:axId val="886526543"/>
      </c:barChart>
      <c:catAx>
        <c:axId val="8865248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CE0037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6526543"/>
        <c:crosses val="autoZero"/>
        <c:auto val="1"/>
        <c:lblAlgn val="ctr"/>
        <c:lblOffset val="100"/>
        <c:noMultiLvlLbl val="0"/>
      </c:catAx>
      <c:valAx>
        <c:axId val="886526543"/>
        <c:scaling>
          <c:orientation val="minMax"/>
          <c:min val="-8"/>
        </c:scaling>
        <c:delete val="1"/>
        <c:axPos val="l"/>
        <c:numFmt formatCode="General" sourceLinked="1"/>
        <c:majorTickMark val="out"/>
        <c:minorTickMark val="none"/>
        <c:tickLblPos val="nextTo"/>
        <c:crossAx val="88652487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792805149833893E-2"/>
          <c:y val="7.4543640312261544E-2"/>
          <c:w val="0.92641438970033219"/>
          <c:h val="0.727351699776422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DP</c:v>
                </c:pt>
              </c:strCache>
            </c:strRef>
          </c:tx>
          <c:spPr>
            <a:pattFill prst="pct70">
              <a:fgClr>
                <a:srgbClr val="00B0F0"/>
              </a:fgClr>
              <a:bgClr>
                <a:schemeClr val="bg1"/>
              </a:bgClr>
            </a:pattFill>
            <a:ln>
              <a:solidFill>
                <a:srgbClr val="00B0F0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pattFill prst="pct70">
                <a:fgClr>
                  <a:srgbClr val="FF0000"/>
                </a:fgClr>
                <a:bgClr>
                  <a:schemeClr val="bg1"/>
                </a:bgClr>
              </a:patt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B2DB-40F4-9F40-4FAF28A0711E}"/>
              </c:ext>
            </c:extLst>
          </c:dPt>
          <c:dPt>
            <c:idx val="2"/>
            <c:invertIfNegative val="0"/>
            <c:bubble3D val="0"/>
            <c:spPr>
              <a:pattFill prst="pct70">
                <a:fgClr>
                  <a:srgbClr val="FF0000"/>
                </a:fgClr>
                <a:bgClr>
                  <a:schemeClr val="bg1"/>
                </a:bgClr>
              </a:patt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58F0-4CFE-B2D2-3E3D905304B5}"/>
              </c:ext>
            </c:extLst>
          </c:dPt>
          <c:dPt>
            <c:idx val="7"/>
            <c:invertIfNegative val="0"/>
            <c:bubble3D val="0"/>
            <c:spPr>
              <a:pattFill prst="pct70">
                <a:fgClr>
                  <a:srgbClr val="FF0000"/>
                </a:fgClr>
                <a:bgClr>
                  <a:schemeClr val="bg1"/>
                </a:bgClr>
              </a:patt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855-48E6-8470-C12BB77AD097}"/>
              </c:ext>
            </c:extLst>
          </c:dPt>
          <c:dPt>
            <c:idx val="9"/>
            <c:invertIfNegative val="0"/>
            <c:bubble3D val="0"/>
            <c:spPr>
              <a:pattFill prst="pct70">
                <a:fgClr>
                  <a:srgbClr val="FF0000"/>
                </a:fgClr>
                <a:bgClr>
                  <a:schemeClr val="bg1"/>
                </a:bgClr>
              </a:pattFill>
              <a:ln w="9525">
                <a:solidFill>
                  <a:srgbClr val="FF0000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6-C855-48E6-8470-C12BB77AD097}"/>
              </c:ext>
            </c:extLst>
          </c:dPt>
          <c:dPt>
            <c:idx val="10"/>
            <c:invertIfNegative val="0"/>
            <c:bubble3D val="0"/>
            <c:spPr>
              <a:noFill/>
              <a:ln w="38100">
                <a:solidFill>
                  <a:srgbClr val="00B0F0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7-C855-48E6-8470-C12BB77AD097}"/>
              </c:ext>
            </c:extLst>
          </c:dPt>
          <c:dPt>
            <c:idx val="11"/>
            <c:invertIfNegative val="0"/>
            <c:bubble3D val="0"/>
            <c:spPr>
              <a:noFill/>
              <a:ln w="38100">
                <a:solidFill>
                  <a:srgbClr val="00B0F0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8-C855-48E6-8470-C12BB77AD097}"/>
              </c:ext>
            </c:extLst>
          </c:dPt>
          <c:dLbls>
            <c:dLbl>
              <c:idx val="1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B2DB-40F4-9F40-4FAF28A0711E}"/>
                </c:ext>
              </c:extLst>
            </c:dLbl>
            <c:dLbl>
              <c:idx val="2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8F0-4CFE-B2D2-3E3D905304B5}"/>
                </c:ext>
              </c:extLst>
            </c:dLbl>
            <c:dLbl>
              <c:idx val="7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C855-48E6-8470-C12BB77AD097}"/>
                </c:ext>
              </c:extLst>
            </c:dLbl>
            <c:dLbl>
              <c:idx val="9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C855-48E6-8470-C12BB77AD097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M$1</c:f>
              <c:strCache>
                <c:ptCount val="12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</c:strCache>
            </c:strRef>
          </c:cat>
          <c:val>
            <c:numRef>
              <c:f>Sheet1!$B$2:$M$2</c:f>
              <c:numCache>
                <c:formatCode>General</c:formatCode>
                <c:ptCount val="12"/>
                <c:pt idx="0">
                  <c:v>0</c:v>
                </c:pt>
                <c:pt idx="1">
                  <c:v>-6.6000000000000005</c:v>
                </c:pt>
                <c:pt idx="2">
                  <c:v>-9.8000000000000007</c:v>
                </c:pt>
                <c:pt idx="3">
                  <c:v>2.4</c:v>
                </c:pt>
                <c:pt idx="4">
                  <c:v>2.4</c:v>
                </c:pt>
                <c:pt idx="5">
                  <c:v>3.5000000000000004</c:v>
                </c:pt>
                <c:pt idx="6">
                  <c:v>3.2</c:v>
                </c:pt>
                <c:pt idx="7">
                  <c:v>-3.8</c:v>
                </c:pt>
                <c:pt idx="8">
                  <c:v>3.4000000000000004</c:v>
                </c:pt>
                <c:pt idx="9">
                  <c:v>-29.1</c:v>
                </c:pt>
                <c:pt idx="10">
                  <c:v>-2.6</c:v>
                </c:pt>
                <c:pt idx="11">
                  <c:v>7.3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55-48E6-8470-C12BB77AD0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overlap val="-27"/>
        <c:axId val="886524879"/>
        <c:axId val="886526543"/>
      </c:barChart>
      <c:catAx>
        <c:axId val="8865248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00B0F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6526543"/>
        <c:crosses val="autoZero"/>
        <c:auto val="1"/>
        <c:lblAlgn val="ctr"/>
        <c:lblOffset val="100"/>
        <c:noMultiLvlLbl val="0"/>
      </c:catAx>
      <c:valAx>
        <c:axId val="886526543"/>
        <c:scaling>
          <c:orientation val="minMax"/>
          <c:min val="-37"/>
        </c:scaling>
        <c:delete val="1"/>
        <c:axPos val="l"/>
        <c:numFmt formatCode="General" sourceLinked="1"/>
        <c:majorTickMark val="out"/>
        <c:minorTickMark val="none"/>
        <c:tickLblPos val="nextTo"/>
        <c:crossAx val="88652487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DP</c:v>
                </c:pt>
              </c:strCache>
            </c:strRef>
          </c:tx>
          <c:spPr>
            <a:solidFill>
              <a:srgbClr val="F2A900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rgbClr val="F2A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BDC-45FF-8C68-8094D2676FB4}"/>
              </c:ext>
            </c:extLst>
          </c:dPt>
          <c:dPt>
            <c:idx val="9"/>
            <c:invertIfNegative val="0"/>
            <c:bubble3D val="0"/>
            <c:spPr>
              <a:solidFill>
                <a:srgbClr val="F2A900"/>
              </a:solidFill>
              <a:ln w="38100">
                <a:noFill/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3-5BDC-45FF-8C68-8094D2676FB4}"/>
              </c:ext>
            </c:extLst>
          </c:dPt>
          <c:dPt>
            <c:idx val="10"/>
            <c:invertIfNegative val="0"/>
            <c:bubble3D val="0"/>
            <c:spPr>
              <a:noFill/>
              <a:ln w="38100">
                <a:solidFill>
                  <a:srgbClr val="FFC000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5-5BDC-45FF-8C68-8094D2676FB4}"/>
              </c:ext>
            </c:extLst>
          </c:dPt>
          <c:dPt>
            <c:idx val="11"/>
            <c:invertIfNegative val="0"/>
            <c:bubble3D val="0"/>
            <c:spPr>
              <a:noFill/>
              <a:ln w="38100">
                <a:solidFill>
                  <a:srgbClr val="FFC000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7-5BDC-45FF-8C68-8094D2676FB4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M$1</c:f>
              <c:strCache>
                <c:ptCount val="12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</c:strCache>
            </c:strRef>
          </c:cat>
          <c:val>
            <c:numRef>
              <c:f>Sheet1!$B$2:$M$2</c:f>
              <c:numCache>
                <c:formatCode>General</c:formatCode>
                <c:ptCount val="12"/>
                <c:pt idx="0">
                  <c:v>7.1999999999999993</c:v>
                </c:pt>
                <c:pt idx="1">
                  <c:v>9.3000000000000007</c:v>
                </c:pt>
                <c:pt idx="2">
                  <c:v>9.1</c:v>
                </c:pt>
                <c:pt idx="3">
                  <c:v>9.4</c:v>
                </c:pt>
                <c:pt idx="4">
                  <c:v>9.5</c:v>
                </c:pt>
                <c:pt idx="5">
                  <c:v>8.7999999999999989</c:v>
                </c:pt>
                <c:pt idx="6">
                  <c:v>8.2000000000000011</c:v>
                </c:pt>
                <c:pt idx="7">
                  <c:v>9.5</c:v>
                </c:pt>
                <c:pt idx="8">
                  <c:v>9.8000000000000007</c:v>
                </c:pt>
                <c:pt idx="9">
                  <c:v>35</c:v>
                </c:pt>
                <c:pt idx="10">
                  <c:v>25</c:v>
                </c:pt>
                <c:pt idx="1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BDC-45FF-8C68-8094D2676F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overlap val="-27"/>
        <c:axId val="886524879"/>
        <c:axId val="886526543"/>
      </c:barChart>
      <c:catAx>
        <c:axId val="8865248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00B0F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6526543"/>
        <c:crosses val="autoZero"/>
        <c:auto val="1"/>
        <c:lblAlgn val="ctr"/>
        <c:lblOffset val="100"/>
        <c:noMultiLvlLbl val="0"/>
      </c:catAx>
      <c:valAx>
        <c:axId val="886526543"/>
        <c:scaling>
          <c:orientation val="minMax"/>
          <c:max val="4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86524879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2B53F18-E27B-4C87-8BEF-3FDFFCD95048}" type="datetimeFigureOut">
              <a:rPr lang="uk-UA" smtClean="0"/>
              <a:t>30.05.2023</a:t>
            </a:fld>
            <a:endParaRPr lang="uk-U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uk-U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C30238F-9F5D-4389-8113-5C23C5F36B73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90616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9478">
              <a:defRPr/>
            </a:pPr>
            <a:fld id="{A16CFAD1-D197-4A88-B173-A6412E995EE5}" type="slidenum">
              <a:rPr lang="en-GB" sz="1000">
                <a:solidFill>
                  <a:srgbClr val="000000"/>
                </a:solidFill>
                <a:latin typeface="Arial"/>
              </a:rPr>
              <a:pPr defTabSz="949478">
                <a:defRPr/>
              </a:pPr>
              <a:t>1</a:t>
            </a:fld>
            <a:endParaRPr lang="en-GB" sz="10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6743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19940F-5F77-4A97-A933-204175170183}" type="slidenum">
              <a:rPr lang="uk-UA" smtClean="0"/>
              <a:t>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14397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A16CFAD1-D197-4A88-B173-A6412E995EE5}" type="slidenum">
              <a:rPr lang="en-GB" sz="1000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8</a:t>
            </a:fld>
            <a:endParaRPr lang="en-GB" sz="10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295052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A42908-148F-478E-9D0A-1A0989F93FF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0448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31DB0A80-60C5-4148-A1A7-28054DD69D93}" type="slidenum">
              <a:rPr lang="de-DE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10</a:t>
            </a:fld>
            <a:endParaRPr lang="de-D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78875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0194"/>
            <a:ext cx="9144000" cy="2387600"/>
          </a:xfr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66478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91697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7044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5164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48670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17933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17026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67523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n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5D01A8C-79CB-4BBA-92DA-F9E41E7919D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3999" y="1004400"/>
            <a:ext cx="11541600" cy="5528464"/>
          </a:xfrm>
          <a:custGeom>
            <a:avLst/>
            <a:gdLst>
              <a:gd name="connsiteX0" fmla="*/ 3639 w 11541600"/>
              <a:gd name="connsiteY0" fmla="*/ 0 h 5528464"/>
              <a:gd name="connsiteX1" fmla="*/ 5547 w 11541600"/>
              <a:gd name="connsiteY1" fmla="*/ 0 h 5528464"/>
              <a:gd name="connsiteX2" fmla="*/ 45497 w 11541600"/>
              <a:gd name="connsiteY2" fmla="*/ 38863 h 5528464"/>
              <a:gd name="connsiteX3" fmla="*/ 936120 w 11541600"/>
              <a:gd name="connsiteY3" fmla="*/ 196021 h 5528464"/>
              <a:gd name="connsiteX4" fmla="*/ 11023852 w 11541600"/>
              <a:gd name="connsiteY4" fmla="*/ 196021 h 5528464"/>
              <a:gd name="connsiteX5" fmla="*/ 11023859 w 11541600"/>
              <a:gd name="connsiteY5" fmla="*/ 196022 h 5528464"/>
              <a:gd name="connsiteX6" fmla="*/ 11225414 w 11541600"/>
              <a:gd name="connsiteY6" fmla="*/ 196022 h 5528464"/>
              <a:gd name="connsiteX7" fmla="*/ 11517896 w 11541600"/>
              <a:gd name="connsiteY7" fmla="*/ 389905 h 5528464"/>
              <a:gd name="connsiteX8" fmla="*/ 11541600 w 11541600"/>
              <a:gd name="connsiteY8" fmla="*/ 507288 h 5528464"/>
              <a:gd name="connsiteX9" fmla="*/ 11541600 w 11541600"/>
              <a:gd name="connsiteY9" fmla="*/ 5226063 h 5528464"/>
              <a:gd name="connsiteX10" fmla="*/ 11528573 w 11541600"/>
              <a:gd name="connsiteY10" fmla="*/ 5312208 h 5528464"/>
              <a:gd name="connsiteX11" fmla="*/ 11348963 w 11541600"/>
              <a:gd name="connsiteY11" fmla="*/ 5510304 h 5528464"/>
              <a:gd name="connsiteX12" fmla="*/ 11290472 w 11541600"/>
              <a:gd name="connsiteY12" fmla="*/ 5528464 h 5528464"/>
              <a:gd name="connsiteX13" fmla="*/ 6355581 w 11541600"/>
              <a:gd name="connsiteY13" fmla="*/ 5528464 h 5528464"/>
              <a:gd name="connsiteX14" fmla="*/ 6355581 w 11541600"/>
              <a:gd name="connsiteY14" fmla="*/ 5528463 h 5528464"/>
              <a:gd name="connsiteX15" fmla="*/ 0 w 11541600"/>
              <a:gd name="connsiteY15" fmla="*/ 5528463 h 5528464"/>
              <a:gd name="connsiteX16" fmla="*/ 0 w 11541600"/>
              <a:gd name="connsiteY16" fmla="*/ 5380905 h 5528464"/>
              <a:gd name="connsiteX17" fmla="*/ 0 w 11541600"/>
              <a:gd name="connsiteY17" fmla="*/ 1176092 h 5528464"/>
              <a:gd name="connsiteX18" fmla="*/ 0 w 11541600"/>
              <a:gd name="connsiteY18" fmla="*/ 93641 h 5528464"/>
              <a:gd name="connsiteX19" fmla="*/ 3639 w 11541600"/>
              <a:gd name="connsiteY19" fmla="*/ 97181 h 5528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541600" h="5528464">
                <a:moveTo>
                  <a:pt x="3639" y="0"/>
                </a:moveTo>
                <a:lnTo>
                  <a:pt x="5547" y="0"/>
                </a:lnTo>
                <a:lnTo>
                  <a:pt x="45497" y="38863"/>
                </a:lnTo>
                <a:cubicBezTo>
                  <a:pt x="175596" y="130432"/>
                  <a:pt x="525190" y="196021"/>
                  <a:pt x="936120" y="196021"/>
                </a:cubicBezTo>
                <a:lnTo>
                  <a:pt x="11023852" y="196021"/>
                </a:lnTo>
                <a:lnTo>
                  <a:pt x="11023859" y="196022"/>
                </a:lnTo>
                <a:lnTo>
                  <a:pt x="11225414" y="196022"/>
                </a:lnTo>
                <a:cubicBezTo>
                  <a:pt x="11356880" y="196022"/>
                  <a:pt x="11469702" y="275978"/>
                  <a:pt x="11517896" y="389905"/>
                </a:cubicBezTo>
                <a:lnTo>
                  <a:pt x="11541600" y="507288"/>
                </a:lnTo>
                <a:lnTo>
                  <a:pt x="11541600" y="5226063"/>
                </a:lnTo>
                <a:lnTo>
                  <a:pt x="11528573" y="5312208"/>
                </a:lnTo>
                <a:cubicBezTo>
                  <a:pt x="11500745" y="5401660"/>
                  <a:pt x="11434408" y="5474159"/>
                  <a:pt x="11348963" y="5510304"/>
                </a:cubicBezTo>
                <a:lnTo>
                  <a:pt x="11290472" y="5528464"/>
                </a:lnTo>
                <a:lnTo>
                  <a:pt x="6355581" y="5528464"/>
                </a:lnTo>
                <a:lnTo>
                  <a:pt x="6355581" y="5528463"/>
                </a:lnTo>
                <a:lnTo>
                  <a:pt x="0" y="5528463"/>
                </a:lnTo>
                <a:lnTo>
                  <a:pt x="0" y="5380905"/>
                </a:lnTo>
                <a:lnTo>
                  <a:pt x="0" y="1176092"/>
                </a:lnTo>
                <a:lnTo>
                  <a:pt x="0" y="93641"/>
                </a:lnTo>
                <a:lnTo>
                  <a:pt x="3639" y="9718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0" bIns="648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7B33A7B-439E-4E17-9756-3D87CE665F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6400" y="3772800"/>
            <a:ext cx="3780000" cy="1349341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C5B1186-C995-4007-962E-7A0883CB08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6400" y="5382000"/>
            <a:ext cx="3780000" cy="32400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place and date</a:t>
            </a:r>
          </a:p>
        </p:txBody>
      </p:sp>
      <p:pic>
        <p:nvPicPr>
          <p:cNvPr id="4" name="Logo Internal">
            <a:extLst>
              <a:ext uri="{FF2B5EF4-FFF2-40B4-BE49-F238E27FC236}">
                <a16:creationId xmlns:a16="http://schemas.microsoft.com/office/drawing/2014/main" id="{C1117682-9AFE-4406-B04E-C21582117F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97" y="324000"/>
            <a:ext cx="3001855" cy="537935"/>
          </a:xfrm>
          <a:prstGeom prst="rect">
            <a:avLst/>
          </a:prstGeom>
        </p:spPr>
      </p:pic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98AEDA8E-14AA-492A-8FCB-AAC5E36A639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US"/>
              <a:t>29.03.2022</a:t>
            </a:r>
            <a:endParaRPr lang="en-GB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1F4E767D-83C3-4742-ACDC-F1302711F53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Business Review - SEE (SEM)</a:t>
            </a:r>
            <a:endParaRPr lang="en-GB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04230D5-82F3-4C8D-820A-38DD7770A3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	0</a:t>
            </a:r>
          </a:p>
        </p:txBody>
      </p:sp>
    </p:spTree>
    <p:extLst>
      <p:ext uri="{BB962C8B-B14F-4D97-AF65-F5344CB8AC3E}">
        <p14:creationId xmlns:p14="http://schemas.microsoft.com/office/powerpoint/2010/main" val="1704123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>
          <p15:clr>
            <a:srgbClr val="000000"/>
          </p15:clr>
        </p15:guide>
        <p15:guide id="2" pos="7474">
          <p15:clr>
            <a:srgbClr val="000000"/>
          </p15:clr>
        </p15:guide>
        <p15:guide id="3" orient="horz" pos="4115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0194"/>
            <a:ext cx="9144000" cy="2387600"/>
          </a:xfr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0700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9583" y="2235200"/>
            <a:ext cx="9144000" cy="2387600"/>
          </a:xfrm>
        </p:spPr>
        <p:txBody>
          <a:bodyPr anchor="ctr"/>
          <a:lstStyle>
            <a:lvl1pPr algn="l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81368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9583" y="2235200"/>
            <a:ext cx="9144000" cy="2387600"/>
          </a:xfrm>
        </p:spPr>
        <p:txBody>
          <a:bodyPr anchor="ctr"/>
          <a:lstStyle>
            <a:lvl1pPr algn="l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19561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5200"/>
            <a:ext cx="9144000" cy="2387600"/>
          </a:xfrm>
        </p:spPr>
        <p:txBody>
          <a:bodyPr anchor="t"/>
          <a:lstStyle>
            <a:lvl1pPr algn="ctr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31327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5200"/>
            <a:ext cx="9144000" cy="2387600"/>
          </a:xfrm>
        </p:spPr>
        <p:txBody>
          <a:bodyPr anchor="t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90B3DC-98B4-4765-A655-678996F4F243}" type="datetimeFigureOut">
              <a:rPr lang="en-GB" smtClean="0"/>
              <a:pPr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68E75A-4943-457F-AC84-4258CCB4A21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33619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0194"/>
            <a:ext cx="9144000" cy="2387600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73806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27758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8551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99927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2009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71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5314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63252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5200"/>
            <a:ext cx="9144000" cy="2387600"/>
          </a:xfrm>
        </p:spPr>
        <p:txBody>
          <a:bodyPr anchor="t"/>
          <a:lstStyle>
            <a:lvl1pPr algn="ctr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83770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67287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17361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41014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70698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estle - info slide horisontal wav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294456"/>
            <a:ext cx="12173562" cy="153092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1BA0ED-7A6F-41F1-9615-75D843D96B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752602"/>
            <a:ext cx="11173691" cy="401088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093EC55-4892-4F8D-BE29-F0C5DA0C1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56605"/>
            <a:ext cx="8603673" cy="115194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uk-UA" sz="4800" b="0" kern="1200" dirty="0">
                <a:solidFill>
                  <a:srgbClr val="007481"/>
                </a:solidFill>
                <a:latin typeface="Nestle Text TF VN Book" panose="00000500000000000000" pitchFamily="2" charset="0"/>
                <a:ea typeface="+mj-ea"/>
                <a:cs typeface="Nestle Script Office EUR" panose="00000500000000000000" pitchFamily="2" charset="0"/>
              </a:defRPr>
            </a:lvl1pPr>
          </a:lstStyle>
          <a:p>
            <a:r>
              <a:rPr lang="en-US"/>
              <a:t>Type the title here</a:t>
            </a:r>
            <a:endParaRPr lang="uk-UA"/>
          </a:p>
        </p:txBody>
      </p:sp>
      <p:pic>
        <p:nvPicPr>
          <p:cNvPr id="11" name="Рисунок 6">
            <a:extLst>
              <a:ext uri="{FF2B5EF4-FFF2-40B4-BE49-F238E27FC236}">
                <a16:creationId xmlns:a16="http://schemas.microsoft.com/office/drawing/2014/main" id="{566B9D51-A9CF-467A-8BFA-1AEE878610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78060" y="5659501"/>
            <a:ext cx="1618376" cy="888878"/>
          </a:xfrm>
          <a:prstGeom prst="rect">
            <a:avLst/>
          </a:prstGeom>
        </p:spPr>
      </p:pic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CA1BC754-D849-439B-8F27-F44215A7C4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4774" y="309621"/>
            <a:ext cx="559724" cy="578444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0FC072-F24C-4A8D-81F9-09837B763B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22600" y="6353741"/>
            <a:ext cx="1112520" cy="365125"/>
          </a:xfrm>
        </p:spPr>
        <p:txBody>
          <a:bodyPr/>
          <a:lstStyle/>
          <a:p>
            <a:fld id="{4005DC02-2DEF-4E80-907C-73AA0BCCAC99}" type="datetime3">
              <a:rPr lang="uk-UA" smtClean="0"/>
              <a:t>30/05/23</a:t>
            </a:fld>
            <a:endParaRPr lang="uk-U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0CAEAF-B017-4EC5-9C11-00654A6CB9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19200" y="6353741"/>
            <a:ext cx="1696720" cy="365125"/>
          </a:xfrm>
        </p:spPr>
        <p:txBody>
          <a:bodyPr/>
          <a:lstStyle/>
          <a:p>
            <a:pPr algn="l"/>
            <a:r>
              <a:rPr lang="br-FR"/>
              <a:t>Presentation name</a:t>
            </a:r>
            <a:endParaRPr lang="uk-U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EA39F1-F218-4027-8CC2-88016381F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0" y="6356348"/>
            <a:ext cx="659180" cy="362518"/>
          </a:xfrm>
        </p:spPr>
        <p:txBody>
          <a:bodyPr/>
          <a:lstStyle/>
          <a:p>
            <a:fld id="{FF595D2B-2352-4EF6-851E-B013A6FEC1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379789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n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5D01A8C-79CB-4BBA-92DA-F9E41E7919D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3999" y="1004400"/>
            <a:ext cx="11541600" cy="5528464"/>
          </a:xfrm>
          <a:custGeom>
            <a:avLst/>
            <a:gdLst>
              <a:gd name="connsiteX0" fmla="*/ 3639 w 11541600"/>
              <a:gd name="connsiteY0" fmla="*/ 0 h 5528464"/>
              <a:gd name="connsiteX1" fmla="*/ 5547 w 11541600"/>
              <a:gd name="connsiteY1" fmla="*/ 0 h 5528464"/>
              <a:gd name="connsiteX2" fmla="*/ 45497 w 11541600"/>
              <a:gd name="connsiteY2" fmla="*/ 38863 h 5528464"/>
              <a:gd name="connsiteX3" fmla="*/ 936120 w 11541600"/>
              <a:gd name="connsiteY3" fmla="*/ 196021 h 5528464"/>
              <a:gd name="connsiteX4" fmla="*/ 11023852 w 11541600"/>
              <a:gd name="connsiteY4" fmla="*/ 196021 h 5528464"/>
              <a:gd name="connsiteX5" fmla="*/ 11023859 w 11541600"/>
              <a:gd name="connsiteY5" fmla="*/ 196022 h 5528464"/>
              <a:gd name="connsiteX6" fmla="*/ 11225414 w 11541600"/>
              <a:gd name="connsiteY6" fmla="*/ 196022 h 5528464"/>
              <a:gd name="connsiteX7" fmla="*/ 11517896 w 11541600"/>
              <a:gd name="connsiteY7" fmla="*/ 389905 h 5528464"/>
              <a:gd name="connsiteX8" fmla="*/ 11541600 w 11541600"/>
              <a:gd name="connsiteY8" fmla="*/ 507288 h 5528464"/>
              <a:gd name="connsiteX9" fmla="*/ 11541600 w 11541600"/>
              <a:gd name="connsiteY9" fmla="*/ 5226063 h 5528464"/>
              <a:gd name="connsiteX10" fmla="*/ 11528573 w 11541600"/>
              <a:gd name="connsiteY10" fmla="*/ 5312208 h 5528464"/>
              <a:gd name="connsiteX11" fmla="*/ 11348963 w 11541600"/>
              <a:gd name="connsiteY11" fmla="*/ 5510304 h 5528464"/>
              <a:gd name="connsiteX12" fmla="*/ 11290472 w 11541600"/>
              <a:gd name="connsiteY12" fmla="*/ 5528464 h 5528464"/>
              <a:gd name="connsiteX13" fmla="*/ 6355581 w 11541600"/>
              <a:gd name="connsiteY13" fmla="*/ 5528464 h 5528464"/>
              <a:gd name="connsiteX14" fmla="*/ 6355581 w 11541600"/>
              <a:gd name="connsiteY14" fmla="*/ 5528463 h 5528464"/>
              <a:gd name="connsiteX15" fmla="*/ 0 w 11541600"/>
              <a:gd name="connsiteY15" fmla="*/ 5528463 h 5528464"/>
              <a:gd name="connsiteX16" fmla="*/ 0 w 11541600"/>
              <a:gd name="connsiteY16" fmla="*/ 5380905 h 5528464"/>
              <a:gd name="connsiteX17" fmla="*/ 0 w 11541600"/>
              <a:gd name="connsiteY17" fmla="*/ 1176092 h 5528464"/>
              <a:gd name="connsiteX18" fmla="*/ 0 w 11541600"/>
              <a:gd name="connsiteY18" fmla="*/ 93641 h 5528464"/>
              <a:gd name="connsiteX19" fmla="*/ 3639 w 11541600"/>
              <a:gd name="connsiteY19" fmla="*/ 97181 h 5528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541600" h="5528464">
                <a:moveTo>
                  <a:pt x="3639" y="0"/>
                </a:moveTo>
                <a:lnTo>
                  <a:pt x="5547" y="0"/>
                </a:lnTo>
                <a:lnTo>
                  <a:pt x="45497" y="38863"/>
                </a:lnTo>
                <a:cubicBezTo>
                  <a:pt x="175596" y="130432"/>
                  <a:pt x="525190" y="196021"/>
                  <a:pt x="936120" y="196021"/>
                </a:cubicBezTo>
                <a:lnTo>
                  <a:pt x="11023852" y="196021"/>
                </a:lnTo>
                <a:lnTo>
                  <a:pt x="11023859" y="196022"/>
                </a:lnTo>
                <a:lnTo>
                  <a:pt x="11225414" y="196022"/>
                </a:lnTo>
                <a:cubicBezTo>
                  <a:pt x="11356880" y="196022"/>
                  <a:pt x="11469702" y="275978"/>
                  <a:pt x="11517896" y="389905"/>
                </a:cubicBezTo>
                <a:lnTo>
                  <a:pt x="11541600" y="507288"/>
                </a:lnTo>
                <a:lnTo>
                  <a:pt x="11541600" y="5226063"/>
                </a:lnTo>
                <a:lnTo>
                  <a:pt x="11528573" y="5312208"/>
                </a:lnTo>
                <a:cubicBezTo>
                  <a:pt x="11500745" y="5401660"/>
                  <a:pt x="11434408" y="5474159"/>
                  <a:pt x="11348963" y="5510304"/>
                </a:cubicBezTo>
                <a:lnTo>
                  <a:pt x="11290472" y="5528464"/>
                </a:lnTo>
                <a:lnTo>
                  <a:pt x="6355581" y="5528464"/>
                </a:lnTo>
                <a:lnTo>
                  <a:pt x="6355581" y="5528463"/>
                </a:lnTo>
                <a:lnTo>
                  <a:pt x="0" y="5528463"/>
                </a:lnTo>
                <a:lnTo>
                  <a:pt x="0" y="5380905"/>
                </a:lnTo>
                <a:lnTo>
                  <a:pt x="0" y="1176092"/>
                </a:lnTo>
                <a:lnTo>
                  <a:pt x="0" y="93641"/>
                </a:lnTo>
                <a:lnTo>
                  <a:pt x="3639" y="9718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0" bIns="648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7B33A7B-439E-4E17-9756-3D87CE665F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6400" y="3772800"/>
            <a:ext cx="3780000" cy="1349341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C5B1186-C995-4007-962E-7A0883CB08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6400" y="5382000"/>
            <a:ext cx="3780000" cy="32400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place and date</a:t>
            </a:r>
          </a:p>
        </p:txBody>
      </p:sp>
      <p:pic>
        <p:nvPicPr>
          <p:cNvPr id="4" name="Logo Internal">
            <a:extLst>
              <a:ext uri="{FF2B5EF4-FFF2-40B4-BE49-F238E27FC236}">
                <a16:creationId xmlns:a16="http://schemas.microsoft.com/office/drawing/2014/main" id="{C1117682-9AFE-4406-B04E-C21582117F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997" y="324000"/>
            <a:ext cx="3001855" cy="537935"/>
          </a:xfrm>
          <a:prstGeom prst="rect">
            <a:avLst/>
          </a:prstGeom>
        </p:spPr>
      </p:pic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98AEDA8E-14AA-492A-8FCB-AAC5E36A639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US"/>
              <a:t>29.03.2022</a:t>
            </a:r>
            <a:endParaRPr lang="en-GB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1F4E767D-83C3-4742-ACDC-F1302711F53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Business Review - SEE (SEM)</a:t>
            </a:r>
            <a:endParaRPr lang="en-GB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04230D5-82F3-4C8D-820A-38DD7770A3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	0</a:t>
            </a:r>
          </a:p>
        </p:txBody>
      </p:sp>
    </p:spTree>
    <p:extLst>
      <p:ext uri="{BB962C8B-B14F-4D97-AF65-F5344CB8AC3E}">
        <p14:creationId xmlns:p14="http://schemas.microsoft.com/office/powerpoint/2010/main" val="4237587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>
          <p15:clr>
            <a:srgbClr val="000000"/>
          </p15:clr>
        </p15:guide>
        <p15:guide id="2" pos="7474">
          <p15:clr>
            <a:srgbClr val="000000"/>
          </p15:clr>
        </p15:guide>
        <p15:guide id="3" orient="horz" pos="4115">
          <p15:clr>
            <a:srgbClr val="00000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0194"/>
            <a:ext cx="9144000" cy="2387600"/>
          </a:xfr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4A0778-1E34-485A-8282-3297F3F57591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62182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9583" y="2235200"/>
            <a:ext cx="9144000" cy="2387600"/>
          </a:xfrm>
        </p:spPr>
        <p:txBody>
          <a:bodyPr anchor="ctr"/>
          <a:lstStyle>
            <a:lvl1pPr algn="l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47BA3E-355B-4C4C-A8AE-7645617C58C6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03671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5200"/>
            <a:ext cx="9144000" cy="2387600"/>
          </a:xfrm>
        </p:spPr>
        <p:txBody>
          <a:bodyPr anchor="t"/>
          <a:lstStyle>
            <a:lvl1pPr algn="ctr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891488-4208-4B67-B944-FDC1ED9032A7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49997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5200"/>
            <a:ext cx="9144000" cy="2387600"/>
          </a:xfrm>
        </p:spPr>
        <p:txBody>
          <a:bodyPr anchor="t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D2434B-3735-454F-B395-6E78883C401E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68E75A-4943-457F-AC84-4258CCB4A21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02776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5200"/>
            <a:ext cx="9144000" cy="2387600"/>
          </a:xfrm>
        </p:spPr>
        <p:txBody>
          <a:bodyPr anchor="t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96766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0194"/>
            <a:ext cx="9144000" cy="2387600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AFBCE7-D3A4-476B-96FE-06322EC83B6F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24431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6104D-5EEF-4E27-8922-8C52272241C4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16112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3ADBB-CDC4-4E24-BB06-3DD2F8597CEC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7550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Internal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D0B4601-5040-4162-82AB-813E4CA75056}"/>
              </a:ext>
            </a:extLst>
          </p:cNvPr>
          <p:cNvSpPr/>
          <p:nvPr userDrawn="1"/>
        </p:nvSpPr>
        <p:spPr>
          <a:xfrm>
            <a:off x="11215688" y="745332"/>
            <a:ext cx="545512" cy="190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pic>
        <p:nvPicPr>
          <p:cNvPr id="20" name="Logo Internal">
            <a:extLst>
              <a:ext uri="{FF2B5EF4-FFF2-40B4-BE49-F238E27FC236}">
                <a16:creationId xmlns:a16="http://schemas.microsoft.com/office/drawing/2014/main" id="{841E1447-962E-485C-990A-3847207ADC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8487" y="6470133"/>
            <a:ext cx="1541238" cy="276405"/>
          </a:xfrm>
          <a:prstGeom prst="rect">
            <a:avLst/>
          </a:prstGeo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B0D32C4-A236-4C1F-9366-12620F9CE0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2EDF0-181D-4ECD-9CA5-751F0065D857}" type="datetime3">
              <a:rPr lang="uk-UA" smtClean="0"/>
              <a:t>30/05/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6A133E-B9C0-4FC3-BE79-ECDCC1FAD0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5AEC23-1AC4-4464-8BE1-F792C9247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AD320-0145-465E-81D8-601FAF27345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3429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Internal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FC57CF9-B089-44AD-98E2-F164E241F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D396B-3077-4282-ADE7-ADED628A0070}" type="datetime3">
              <a:rPr lang="uk-UA" smtClean="0"/>
              <a:t>30/05/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74015AB-CEFF-4C6C-8BA6-F05EF66E2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3B3F117-3916-481D-B476-CB9FEE794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AD320-0145-465E-81D8-601FAF2734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FF4117-3C65-4F3D-BFBA-F8612C56F2A5}"/>
              </a:ext>
            </a:extLst>
          </p:cNvPr>
          <p:cNvSpPr/>
          <p:nvPr userDrawn="1"/>
        </p:nvSpPr>
        <p:spPr>
          <a:xfrm>
            <a:off x="11215688" y="745332"/>
            <a:ext cx="545512" cy="190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pic>
        <p:nvPicPr>
          <p:cNvPr id="10" name="Logo Internal">
            <a:extLst>
              <a:ext uri="{FF2B5EF4-FFF2-40B4-BE49-F238E27FC236}">
                <a16:creationId xmlns:a16="http://schemas.microsoft.com/office/drawing/2014/main" id="{BB8D4A4F-CCC7-4782-859B-98FEBA8E5B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8487" y="6470133"/>
            <a:ext cx="1541238" cy="276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9357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4BDF697-728F-4053-A657-99920006415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4000" y="1153016"/>
            <a:ext cx="11541600" cy="5379849"/>
          </a:xfrm>
          <a:custGeom>
            <a:avLst/>
            <a:gdLst>
              <a:gd name="connsiteX0" fmla="*/ 3638 w 11541600"/>
              <a:gd name="connsiteY0" fmla="*/ 0 h 5379849"/>
              <a:gd name="connsiteX1" fmla="*/ 6633 w 11541600"/>
              <a:gd name="connsiteY1" fmla="*/ 0 h 5379849"/>
              <a:gd name="connsiteX2" fmla="*/ 45496 w 11541600"/>
              <a:gd name="connsiteY2" fmla="*/ 37806 h 5379849"/>
              <a:gd name="connsiteX3" fmla="*/ 936119 w 11541600"/>
              <a:gd name="connsiteY3" fmla="*/ 194964 h 5379849"/>
              <a:gd name="connsiteX4" fmla="*/ 11023851 w 11541600"/>
              <a:gd name="connsiteY4" fmla="*/ 194964 h 5379849"/>
              <a:gd name="connsiteX5" fmla="*/ 11023858 w 11541600"/>
              <a:gd name="connsiteY5" fmla="*/ 194965 h 5379849"/>
              <a:gd name="connsiteX6" fmla="*/ 11225413 w 11541600"/>
              <a:gd name="connsiteY6" fmla="*/ 194965 h 5379849"/>
              <a:gd name="connsiteX7" fmla="*/ 11517895 w 11541600"/>
              <a:gd name="connsiteY7" fmla="*/ 388848 h 5379849"/>
              <a:gd name="connsiteX8" fmla="*/ 11541600 w 11541600"/>
              <a:gd name="connsiteY8" fmla="*/ 506236 h 5379849"/>
              <a:gd name="connsiteX9" fmla="*/ 11541600 w 11541600"/>
              <a:gd name="connsiteY9" fmla="*/ 5077441 h 5379849"/>
              <a:gd name="connsiteX10" fmla="*/ 11528572 w 11541600"/>
              <a:gd name="connsiteY10" fmla="*/ 5163593 h 5379849"/>
              <a:gd name="connsiteX11" fmla="*/ 11348962 w 11541600"/>
              <a:gd name="connsiteY11" fmla="*/ 5361689 h 5379849"/>
              <a:gd name="connsiteX12" fmla="*/ 11290471 w 11541600"/>
              <a:gd name="connsiteY12" fmla="*/ 5379849 h 5379849"/>
              <a:gd name="connsiteX13" fmla="*/ 6355580 w 11541600"/>
              <a:gd name="connsiteY13" fmla="*/ 5379849 h 5379849"/>
              <a:gd name="connsiteX14" fmla="*/ 6355580 w 11541600"/>
              <a:gd name="connsiteY14" fmla="*/ 5379848 h 5379849"/>
              <a:gd name="connsiteX15" fmla="*/ 0 w 11541600"/>
              <a:gd name="connsiteY15" fmla="*/ 5379848 h 5379849"/>
              <a:gd name="connsiteX16" fmla="*/ 0 w 11541600"/>
              <a:gd name="connsiteY16" fmla="*/ 92585 h 5379849"/>
              <a:gd name="connsiteX17" fmla="*/ 3638 w 11541600"/>
              <a:gd name="connsiteY17" fmla="*/ 96124 h 5379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1541600" h="5379849">
                <a:moveTo>
                  <a:pt x="3638" y="0"/>
                </a:moveTo>
                <a:lnTo>
                  <a:pt x="6633" y="0"/>
                </a:lnTo>
                <a:lnTo>
                  <a:pt x="45496" y="37806"/>
                </a:lnTo>
                <a:cubicBezTo>
                  <a:pt x="175595" y="129375"/>
                  <a:pt x="525189" y="194964"/>
                  <a:pt x="936119" y="194964"/>
                </a:cubicBezTo>
                <a:lnTo>
                  <a:pt x="11023851" y="194964"/>
                </a:lnTo>
                <a:lnTo>
                  <a:pt x="11023858" y="194965"/>
                </a:lnTo>
                <a:lnTo>
                  <a:pt x="11225413" y="194965"/>
                </a:lnTo>
                <a:cubicBezTo>
                  <a:pt x="11356879" y="194965"/>
                  <a:pt x="11469701" y="274921"/>
                  <a:pt x="11517895" y="388848"/>
                </a:cubicBezTo>
                <a:lnTo>
                  <a:pt x="11541600" y="506236"/>
                </a:lnTo>
                <a:lnTo>
                  <a:pt x="11541600" y="5077441"/>
                </a:lnTo>
                <a:lnTo>
                  <a:pt x="11528572" y="5163593"/>
                </a:lnTo>
                <a:cubicBezTo>
                  <a:pt x="11500744" y="5253045"/>
                  <a:pt x="11434407" y="5325544"/>
                  <a:pt x="11348962" y="5361689"/>
                </a:cubicBezTo>
                <a:lnTo>
                  <a:pt x="11290471" y="5379849"/>
                </a:lnTo>
                <a:lnTo>
                  <a:pt x="6355580" y="5379849"/>
                </a:lnTo>
                <a:lnTo>
                  <a:pt x="6355580" y="5379848"/>
                </a:lnTo>
                <a:lnTo>
                  <a:pt x="0" y="5379848"/>
                </a:lnTo>
                <a:lnTo>
                  <a:pt x="0" y="92585"/>
                </a:lnTo>
                <a:lnTo>
                  <a:pt x="3638" y="9612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2772000" tIns="0" bIns="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6400" y="3772800"/>
            <a:ext cx="3780000" cy="1349341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AC94AE2-72B5-46A2-9147-CF5759C77D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6400" y="5382000"/>
            <a:ext cx="3780000" cy="32400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place and date</a:t>
            </a: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98AEDA8E-14AA-492A-8FCB-AAC5E36A639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56A60A50-4818-4A38-8E4F-28A58C236E40}" type="datetime3">
              <a:rPr lang="uk-UA" smtClean="0"/>
              <a:t>30/05/23</a:t>
            </a:fld>
            <a:endParaRPr lang="en-GB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1F4E767D-83C3-4742-ACDC-F1302711F53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704230D5-82F3-4C8D-820A-38DD7770A3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	0</a:t>
            </a:r>
          </a:p>
        </p:txBody>
      </p:sp>
      <p:pic>
        <p:nvPicPr>
          <p:cNvPr id="4" name="Logo Nestle">
            <a:extLst>
              <a:ext uri="{FF2B5EF4-FFF2-40B4-BE49-F238E27FC236}">
                <a16:creationId xmlns:a16="http://schemas.microsoft.com/office/drawing/2014/main" id="{0ED86401-AB41-4CB3-A5BF-E3B8ECCF9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965" y="263012"/>
            <a:ext cx="2766138" cy="73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2703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12C559E-3453-4A1B-B0E0-CE4BF2641F6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0F96E2C-6FA7-4831-B34E-08DEA8027A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999" y="1582738"/>
            <a:ext cx="11540975" cy="4949825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AB18F0E-758A-42F2-AF69-019A405FF0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6400" y="1906859"/>
            <a:ext cx="5940000" cy="1349341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CCE9005-9841-4428-B810-E333EE2B40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6400" y="3430800"/>
            <a:ext cx="5940000" cy="32400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place and date</a:t>
            </a:r>
          </a:p>
        </p:txBody>
      </p:sp>
      <p:sp>
        <p:nvSpPr>
          <p:cNvPr id="15" name="Date Placeholder 16" hidden="1">
            <a:extLst>
              <a:ext uri="{FF2B5EF4-FFF2-40B4-BE49-F238E27FC236}">
                <a16:creationId xmlns:a16="http://schemas.microsoft.com/office/drawing/2014/main" id="{0E8FF565-412C-4CA6-B116-80175BDEE67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fld id="{BED41A94-C0C7-47FF-837B-7CFDE543FA13}" type="datetime3">
              <a:rPr lang="uk-UA" smtClean="0"/>
              <a:t>30/05/23</a:t>
            </a:fld>
            <a:endParaRPr lang="en-GB"/>
          </a:p>
        </p:txBody>
      </p:sp>
      <p:sp>
        <p:nvSpPr>
          <p:cNvPr id="16" name="Footer Placeholder 17" hidden="1">
            <a:extLst>
              <a:ext uri="{FF2B5EF4-FFF2-40B4-BE49-F238E27FC236}">
                <a16:creationId xmlns:a16="http://schemas.microsoft.com/office/drawing/2014/main" id="{13642CD1-2AD7-4566-A365-2BA8BBEF4A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17" name="Slide Number Placeholder 18" hidden="1">
            <a:extLst>
              <a:ext uri="{FF2B5EF4-FFF2-40B4-BE49-F238E27FC236}">
                <a16:creationId xmlns:a16="http://schemas.microsoft.com/office/drawing/2014/main" id="{05C249DF-050D-49B0-8A8B-4C4DD26EE5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0	0</a:t>
            </a:r>
          </a:p>
        </p:txBody>
      </p:sp>
      <p:pic>
        <p:nvPicPr>
          <p:cNvPr id="10" name="Logo Nestle">
            <a:extLst>
              <a:ext uri="{FF2B5EF4-FFF2-40B4-BE49-F238E27FC236}">
                <a16:creationId xmlns:a16="http://schemas.microsoft.com/office/drawing/2014/main" id="{4C57929A-6377-4154-A6A8-00F16D99D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965" y="263012"/>
            <a:ext cx="2766138" cy="73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280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713600"/>
            <a:ext cx="11329200" cy="450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B0D32C4-A236-4C1F-9366-12620F9CE0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0A978-4FEF-4AFF-AF6A-2BD5B0220216}" type="datetime3">
              <a:rPr lang="uk-UA" smtClean="0"/>
              <a:t>30/05/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6A133E-B9C0-4FC3-BE79-ECDCC1FAD0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5AEC23-1AC4-4464-8BE1-F792C9247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AD320-0145-465E-81D8-601FAF27345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98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4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FC57CF9-B089-44AD-98E2-F164E241F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97640-1910-441A-A6FC-CC5DB389D4FB}" type="datetime3">
              <a:rPr lang="uk-UA" smtClean="0"/>
              <a:t>30/05/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74015AB-CEFF-4C6C-8BA6-F05EF66E2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3B3F117-3916-481D-B476-CB9FEE794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AD320-0145-465E-81D8-601FAF27345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8627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4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n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23CE-E90C-4D9A-98B4-C6F1572E8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85A9DA-8BAE-464D-9324-4F7FC79538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582737"/>
            <a:ext cx="11758364" cy="4652961"/>
          </a:xfrm>
          <a:custGeom>
            <a:avLst/>
            <a:gdLst>
              <a:gd name="connsiteX0" fmla="*/ 6023031 w 11758364"/>
              <a:gd name="connsiteY0" fmla="*/ 0 h 4652961"/>
              <a:gd name="connsiteX1" fmla="*/ 11451222 w 11758364"/>
              <a:gd name="connsiteY1" fmla="*/ 0 h 4652961"/>
              <a:gd name="connsiteX2" fmla="*/ 11758364 w 11758364"/>
              <a:gd name="connsiteY2" fmla="*/ 307142 h 4652961"/>
              <a:gd name="connsiteX3" fmla="*/ 11758364 w 11758364"/>
              <a:gd name="connsiteY3" fmla="*/ 4345819 h 4652961"/>
              <a:gd name="connsiteX4" fmla="*/ 11451222 w 11758364"/>
              <a:gd name="connsiteY4" fmla="*/ 4652961 h 4652961"/>
              <a:gd name="connsiteX5" fmla="*/ 6340838 w 11758364"/>
              <a:gd name="connsiteY5" fmla="*/ 4650218 h 4652961"/>
              <a:gd name="connsiteX6" fmla="*/ 6340838 w 11758364"/>
              <a:gd name="connsiteY6" fmla="*/ 4652961 h 4652961"/>
              <a:gd name="connsiteX7" fmla="*/ 0 w 11758364"/>
              <a:gd name="connsiteY7" fmla="*/ 4652961 h 4652961"/>
              <a:gd name="connsiteX8" fmla="*/ 0 w 11758364"/>
              <a:gd name="connsiteY8" fmla="*/ 1 h 4652961"/>
              <a:gd name="connsiteX9" fmla="*/ 6023031 w 11758364"/>
              <a:gd name="connsiteY9" fmla="*/ 1 h 4652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58364" h="4652961">
                <a:moveTo>
                  <a:pt x="6023031" y="0"/>
                </a:moveTo>
                <a:lnTo>
                  <a:pt x="11451222" y="0"/>
                </a:lnTo>
                <a:cubicBezTo>
                  <a:pt x="11620852" y="0"/>
                  <a:pt x="11758364" y="137512"/>
                  <a:pt x="11758364" y="307142"/>
                </a:cubicBezTo>
                <a:lnTo>
                  <a:pt x="11758364" y="4345819"/>
                </a:lnTo>
                <a:cubicBezTo>
                  <a:pt x="11758364" y="4515449"/>
                  <a:pt x="11620852" y="4652961"/>
                  <a:pt x="11451222" y="4652961"/>
                </a:cubicBezTo>
                <a:lnTo>
                  <a:pt x="6340838" y="4650218"/>
                </a:lnTo>
                <a:lnTo>
                  <a:pt x="6340838" y="4652961"/>
                </a:lnTo>
                <a:lnTo>
                  <a:pt x="0" y="4652961"/>
                </a:lnTo>
                <a:lnTo>
                  <a:pt x="0" y="1"/>
                </a:lnTo>
                <a:lnTo>
                  <a:pt x="6023031" y="1"/>
                </a:lnTo>
                <a:close/>
              </a:path>
            </a:pathLst>
          </a:custGeom>
          <a:solidFill>
            <a:srgbClr val="9CDBD9">
              <a:alpha val="20000"/>
            </a:srgbClr>
          </a:solidFill>
        </p:spPr>
        <p:txBody>
          <a:bodyPr wrap="square" lIns="432000" tIns="1296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ext, change Fill color from Custom Color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07ED77-2031-447D-8BAD-ED7514E37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EF45D-AADE-4984-9EEA-B0E9EAF177F2}" type="datetime3">
              <a:rPr lang="uk-UA" smtClean="0"/>
              <a:t>30/05/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841E20-2E12-4467-8637-DBFAC1A30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3350F8-B60B-428C-B4F9-2FDCEC545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AD320-0145-465E-81D8-601FAF27345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4086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4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0194"/>
            <a:ext cx="9144000" cy="2387600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65795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F4372C-927A-4778-B0BE-876E80A74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5A8511-3433-4077-A6C6-DB4A7F6243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0440" y="1239864"/>
            <a:ext cx="5486400" cy="493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655568-A928-4D90-8C88-1C0E356519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6443" y="1239864"/>
            <a:ext cx="5486400" cy="4937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89897D-670A-4D1A-84BD-FD812A15C9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ly 2021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384D5A-2A5B-4EBA-8B2B-D3CCF9431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D8988A-4DC3-46F5-B870-A4D69D611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AC43E-F8E7-4954-8E1D-2F15CC65A4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7193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53E1972-8ACE-9A11-C389-C042DC9FA53D}"/>
              </a:ext>
            </a:extLst>
          </p:cNvPr>
          <p:cNvSpPr/>
          <p:nvPr userDrawn="1"/>
        </p:nvSpPr>
        <p:spPr>
          <a:xfrm>
            <a:off x="0" y="0"/>
            <a:ext cx="12192000" cy="6876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noProof="0" err="1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850C73D-E58D-FA0F-B657-7CA830ACBC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365" y="432000"/>
            <a:ext cx="11327999" cy="1150938"/>
          </a:xfrm>
        </p:spPr>
        <p:txBody>
          <a:bodyPr/>
          <a:lstStyle>
            <a:lvl1pPr>
              <a:defRPr sz="26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90F4D56-1902-0687-01D9-53CE84BC432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713600"/>
            <a:ext cx="11329200" cy="4499875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98880EF5-C6BC-2475-D83D-0260360F18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1400" y="6484825"/>
            <a:ext cx="1623646" cy="365125"/>
          </a:xfr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  <a:latin typeface="Nestle Text TF Book Cnd" panose="00000506000000000000" pitchFamily="2" charset="0"/>
              </a:defRPr>
            </a:lvl1pPr>
          </a:lstStyle>
          <a:p>
            <a:fld id="{0F90B3DC-98B4-4765-A655-678996F4F243}" type="datetimeFigureOut">
              <a:rPr lang="en-GB" smtClean="0"/>
              <a:pPr/>
              <a:t>30/05/2023</a:t>
            </a:fld>
            <a:endParaRPr lang="en-GB"/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41830129-9E94-6B2B-7886-2C793112BF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6936" y="5996463"/>
            <a:ext cx="1765583" cy="695948"/>
          </a:xfrm>
          <a:prstGeom prst="rect">
            <a:avLst/>
          </a:prstGeom>
        </p:spPr>
      </p:pic>
      <p:sp>
        <p:nvSpPr>
          <p:cNvPr id="12" name="Slide Number Placeholder 7">
            <a:extLst>
              <a:ext uri="{FF2B5EF4-FFF2-40B4-BE49-F238E27FC236}">
                <a16:creationId xmlns:a16="http://schemas.microsoft.com/office/drawing/2014/main" id="{1FD8426F-BF17-6130-94F9-A03C850493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2000" y="6586388"/>
            <a:ext cx="302400" cy="162000"/>
          </a:xfrm>
        </p:spPr>
        <p:txBody>
          <a:bodyPr/>
          <a:lstStyle>
            <a:lvl1pPr>
              <a:defRPr>
                <a:latin typeface="Nestle Text TF Book Cnd" panose="00000506000000000000" pitchFamily="2" charset="0"/>
              </a:defRPr>
            </a:lvl1pPr>
          </a:lstStyle>
          <a:p>
            <a:fld id="{213AD320-0145-465E-81D8-601FAF27345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3862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4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823CE-E90C-4D9A-98B4-C6F1572E8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85A9DA-8BAE-464D-9324-4F7FC79538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582737"/>
            <a:ext cx="11758364" cy="4652961"/>
          </a:xfrm>
          <a:custGeom>
            <a:avLst/>
            <a:gdLst>
              <a:gd name="connsiteX0" fmla="*/ 6023031 w 11758364"/>
              <a:gd name="connsiteY0" fmla="*/ 0 h 4652961"/>
              <a:gd name="connsiteX1" fmla="*/ 11451222 w 11758364"/>
              <a:gd name="connsiteY1" fmla="*/ 0 h 4652961"/>
              <a:gd name="connsiteX2" fmla="*/ 11758364 w 11758364"/>
              <a:gd name="connsiteY2" fmla="*/ 307142 h 4652961"/>
              <a:gd name="connsiteX3" fmla="*/ 11758364 w 11758364"/>
              <a:gd name="connsiteY3" fmla="*/ 4345819 h 4652961"/>
              <a:gd name="connsiteX4" fmla="*/ 11451222 w 11758364"/>
              <a:gd name="connsiteY4" fmla="*/ 4652961 h 4652961"/>
              <a:gd name="connsiteX5" fmla="*/ 6340838 w 11758364"/>
              <a:gd name="connsiteY5" fmla="*/ 4650218 h 4652961"/>
              <a:gd name="connsiteX6" fmla="*/ 6340838 w 11758364"/>
              <a:gd name="connsiteY6" fmla="*/ 4652961 h 4652961"/>
              <a:gd name="connsiteX7" fmla="*/ 0 w 11758364"/>
              <a:gd name="connsiteY7" fmla="*/ 4652961 h 4652961"/>
              <a:gd name="connsiteX8" fmla="*/ 0 w 11758364"/>
              <a:gd name="connsiteY8" fmla="*/ 1 h 4652961"/>
              <a:gd name="connsiteX9" fmla="*/ 6023031 w 11758364"/>
              <a:gd name="connsiteY9" fmla="*/ 1 h 4652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58364" h="4652961">
                <a:moveTo>
                  <a:pt x="6023031" y="0"/>
                </a:moveTo>
                <a:lnTo>
                  <a:pt x="11451222" y="0"/>
                </a:lnTo>
                <a:cubicBezTo>
                  <a:pt x="11620852" y="0"/>
                  <a:pt x="11758364" y="137512"/>
                  <a:pt x="11758364" y="307142"/>
                </a:cubicBezTo>
                <a:lnTo>
                  <a:pt x="11758364" y="4345819"/>
                </a:lnTo>
                <a:cubicBezTo>
                  <a:pt x="11758364" y="4515449"/>
                  <a:pt x="11620852" y="4652961"/>
                  <a:pt x="11451222" y="4652961"/>
                </a:cubicBezTo>
                <a:lnTo>
                  <a:pt x="6340838" y="4650218"/>
                </a:lnTo>
                <a:lnTo>
                  <a:pt x="6340838" y="4652961"/>
                </a:lnTo>
                <a:lnTo>
                  <a:pt x="0" y="4652961"/>
                </a:lnTo>
                <a:lnTo>
                  <a:pt x="0" y="1"/>
                </a:lnTo>
                <a:lnTo>
                  <a:pt x="6023031" y="1"/>
                </a:lnTo>
                <a:close/>
              </a:path>
            </a:pathLst>
          </a:custGeom>
          <a:solidFill>
            <a:srgbClr val="9CDBD9">
              <a:alpha val="20000"/>
            </a:srgbClr>
          </a:solidFill>
        </p:spPr>
        <p:txBody>
          <a:bodyPr wrap="square" lIns="432000" tIns="129600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07ED77-2031-447D-8BAD-ED7514E37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AFC06-1BB2-A64F-B270-BD78E29B687E}" type="datetime5">
              <a:rPr lang="de-CH" smtClean="0"/>
              <a:t>23-05-3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841E20-2E12-4467-8637-DBFAC1A30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3350F8-B60B-428C-B4F9-2FDCEC545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AD320-0145-465E-81D8-601FAF27345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7539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4">
          <p15:clr>
            <a:srgbClr val="000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0194"/>
            <a:ext cx="9144000" cy="2387600"/>
          </a:xfr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120193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9583" y="2235200"/>
            <a:ext cx="9144000" cy="2387600"/>
          </a:xfrm>
        </p:spPr>
        <p:txBody>
          <a:bodyPr anchor="ctr"/>
          <a:lstStyle>
            <a:lvl1pPr algn="l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81976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5200"/>
            <a:ext cx="9144000" cy="2387600"/>
          </a:xfrm>
        </p:spPr>
        <p:txBody>
          <a:bodyPr anchor="t"/>
          <a:lstStyle>
            <a:lvl1pPr algn="ctr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4030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5200"/>
            <a:ext cx="9144000" cy="2387600"/>
          </a:xfrm>
        </p:spPr>
        <p:txBody>
          <a:bodyPr anchor="t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90B3DC-98B4-4765-A655-678996F4F243}" type="datetimeFigureOut">
              <a:rPr lang="en-GB" smtClean="0"/>
              <a:pPr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68E75A-4943-457F-AC84-4258CCB4A21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1212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0194"/>
            <a:ext cx="9144000" cy="2387600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50620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925963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2371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03021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813751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54911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874264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3367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176326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85352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703440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953954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439019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bg>
      <p:bgPr>
        <a:solidFill>
          <a:srgbClr val="0074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89" y="0"/>
            <a:ext cx="12156651" cy="6864220"/>
          </a:xfrm>
          <a:prstGeom prst="rect">
            <a:avLst/>
          </a:prstGeom>
        </p:spPr>
      </p:pic>
      <p:sp>
        <p:nvSpPr>
          <p:cNvPr id="11" name="Прямоугольник 10"/>
          <p:cNvSpPr/>
          <p:nvPr userDrawn="1"/>
        </p:nvSpPr>
        <p:spPr>
          <a:xfrm>
            <a:off x="6121189" y="0"/>
            <a:ext cx="6070811" cy="4813825"/>
          </a:xfrm>
          <a:prstGeom prst="rect">
            <a:avLst/>
          </a:prstGeom>
          <a:gradFill>
            <a:gsLst>
              <a:gs pos="0">
                <a:srgbClr val="007481">
                  <a:alpha val="0"/>
                </a:srgbClr>
              </a:gs>
              <a:gs pos="29736">
                <a:srgbClr val="007481">
                  <a:alpha val="54000"/>
                </a:srgbClr>
              </a:gs>
              <a:gs pos="75000">
                <a:srgbClr val="007481"/>
              </a:gs>
              <a:gs pos="100000">
                <a:srgbClr val="00748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413F554-79AD-4FEE-8438-235206E09F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7029" y="737666"/>
            <a:ext cx="5422877" cy="1849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500" b="1">
                <a:solidFill>
                  <a:schemeClr val="bg1"/>
                </a:solidFill>
                <a:latin typeface="Nestle Text TF VN Book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345" b="30022"/>
          <a:stretch/>
        </p:blipFill>
        <p:spPr>
          <a:xfrm>
            <a:off x="9893616" y="5478843"/>
            <a:ext cx="1945801" cy="1004678"/>
          </a:xfrm>
          <a:prstGeom prst="rect">
            <a:avLst/>
          </a:prstGeom>
        </p:spPr>
      </p:pic>
      <p:pic>
        <p:nvPicPr>
          <p:cNvPr id="10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91898BEA-37D4-438C-94AC-3EE2C95117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9993" y="430750"/>
            <a:ext cx="1010532" cy="1044330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6086A8DC-7616-45E6-BCA4-1BE6CB4295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1491" y="5841715"/>
            <a:ext cx="2228415" cy="338555"/>
          </a:xfrm>
        </p:spPr>
        <p:txBody>
          <a:bodyPr>
            <a:normAutofit/>
          </a:bodyPr>
          <a:lstStyle>
            <a:lvl1pPr marL="0" indent="0" algn="l">
              <a:buNone/>
              <a:defRPr lang="uk-UA" sz="2000" kern="1200" dirty="0">
                <a:solidFill>
                  <a:schemeClr val="bg1"/>
                </a:solidFill>
                <a:latin typeface="Nestle Text TF VN Book" panose="00000500000000000000" pitchFamily="2" charset="0"/>
                <a:ea typeface="+mn-ea"/>
                <a:cs typeface="+mn-cs"/>
              </a:defRPr>
            </a:lvl1pPr>
          </a:lstStyle>
          <a:p>
            <a:pPr algn="l"/>
            <a:r>
              <a:rPr lang="en-US"/>
              <a:t>Insert full Name</a:t>
            </a:r>
            <a:endParaRPr lang="uk-UA"/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4AAB94C7-8877-4510-A1C0-BB62A597C80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63408" y="6343440"/>
            <a:ext cx="2231697" cy="338554"/>
          </a:xfrm>
        </p:spPr>
        <p:txBody>
          <a:bodyPr>
            <a:normAutofit/>
          </a:bodyPr>
          <a:lstStyle>
            <a:lvl1pPr marL="0" indent="0">
              <a:buNone/>
              <a:defRPr lang="uk-UA" sz="1600" kern="1200" dirty="0">
                <a:solidFill>
                  <a:schemeClr val="bg1"/>
                </a:solidFill>
                <a:latin typeface="Nestle Text TF VN Book" panose="00000500000000000000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  <a:endParaRPr lang="uk-UA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FBC184F-2735-4CD5-954B-4789CA7F83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936604" y="5841715"/>
            <a:ext cx="1775721" cy="843248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epartment logo if necessary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451926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754" y="97615"/>
            <a:ext cx="10662138" cy="11823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44432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0194"/>
            <a:ext cx="9144000" cy="2387600"/>
          </a:xfr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FD223-7D63-4284-A5BB-A5EACD38DA6B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9788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9583" y="2235200"/>
            <a:ext cx="9144000" cy="2387600"/>
          </a:xfrm>
        </p:spPr>
        <p:txBody>
          <a:bodyPr anchor="ctr"/>
          <a:lstStyle>
            <a:lvl1pPr algn="l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87FC5F-7D07-4BCE-8DCA-46B831EEBF00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08675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5200"/>
            <a:ext cx="9144000" cy="2387600"/>
          </a:xfrm>
        </p:spPr>
        <p:txBody>
          <a:bodyPr anchor="t"/>
          <a:lstStyle>
            <a:lvl1pPr algn="ctr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B24F5-0816-4C52-8391-86B5E945FE8C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94096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5200"/>
            <a:ext cx="9144000" cy="2387600"/>
          </a:xfrm>
        </p:spPr>
        <p:txBody>
          <a:bodyPr anchor="t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EB8C455-228D-415E-BA7A-15597F037311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68E75A-4943-457F-AC84-4258CCB4A21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21403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0194"/>
            <a:ext cx="9144000" cy="2387600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4E4F55-8146-4671-9058-98F19720384B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389403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80BFB-DAD4-4722-86B5-6F375EBB883E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166918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48C17-71AE-4A1C-9F70-21156EB79D23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318648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4B526-F609-402A-9A96-7461F258C852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41241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51534-76EA-45ED-A11D-BFACB95FFA2F}" type="datetime3">
              <a:rPr lang="uk-UA" smtClean="0"/>
              <a:t>30/05/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065386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5A542-B7C2-42BB-B637-3588C453E34A}" type="datetime3">
              <a:rPr lang="uk-UA" smtClean="0"/>
              <a:t>30/05/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00193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24404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C45E0C-75A9-4330-93A7-621B2FD979EA}" type="datetime3">
              <a:rPr lang="uk-UA" smtClean="0"/>
              <a:t>30/05/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35203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783E7-3EB8-44BD-A8A8-693CE01A39F5}" type="datetime3">
              <a:rPr lang="uk-UA" smtClean="0"/>
              <a:t>30/05/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496665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830C62-DB1D-4471-AF66-57ECBC549F11}" type="datetime3">
              <a:rPr lang="uk-UA" smtClean="0"/>
              <a:t>30/05/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29236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782D2-D1FF-45FB-80A6-009E4D5C91DF}" type="datetime3">
              <a:rPr lang="uk-UA" smtClean="0"/>
              <a:t>30/05/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872445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FB1741-594D-4ED4-9183-D1A4BBAEFDED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413436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A7688-7B7F-4EC2-B7BF-F9A1F0863800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076561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230194"/>
            <a:ext cx="9144000" cy="2387600"/>
          </a:xfrm>
        </p:spPr>
        <p:txBody>
          <a:bodyPr anchor="ctr"/>
          <a:lstStyle>
            <a:lvl1pPr algn="ctr">
              <a:defRPr sz="6000"/>
            </a:lvl1pPr>
          </a:lstStyle>
          <a:p>
            <a:r>
              <a:rPr lang="en-US"/>
              <a:t>SOUTH EASTERN</a:t>
            </a:r>
            <a:br>
              <a:rPr lang="en-US"/>
            </a:br>
            <a:r>
              <a:rPr lang="en-US"/>
              <a:t>EURO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16EB19-CF16-4120-BD17-4B84935F8319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03844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bg>
      <p:bgPr>
        <a:solidFill>
          <a:srgbClr val="0074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89" y="0"/>
            <a:ext cx="12156651" cy="6864220"/>
          </a:xfrm>
          <a:prstGeom prst="rect">
            <a:avLst/>
          </a:prstGeom>
        </p:spPr>
      </p:pic>
      <p:sp>
        <p:nvSpPr>
          <p:cNvPr id="11" name="Прямоугольник 10"/>
          <p:cNvSpPr/>
          <p:nvPr userDrawn="1"/>
        </p:nvSpPr>
        <p:spPr>
          <a:xfrm>
            <a:off x="6121189" y="0"/>
            <a:ext cx="6070811" cy="4813825"/>
          </a:xfrm>
          <a:prstGeom prst="rect">
            <a:avLst/>
          </a:prstGeom>
          <a:gradFill>
            <a:gsLst>
              <a:gs pos="0">
                <a:srgbClr val="007481">
                  <a:alpha val="0"/>
                </a:srgbClr>
              </a:gs>
              <a:gs pos="29736">
                <a:srgbClr val="007481">
                  <a:alpha val="54000"/>
                </a:srgbClr>
              </a:gs>
              <a:gs pos="75000">
                <a:srgbClr val="007481"/>
              </a:gs>
              <a:gs pos="100000">
                <a:srgbClr val="00748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413F554-79AD-4FEE-8438-235206E09F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7029" y="737666"/>
            <a:ext cx="5422877" cy="1849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500" b="1">
                <a:solidFill>
                  <a:schemeClr val="bg1"/>
                </a:solidFill>
                <a:latin typeface="Nestle Text TF VN Book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345" b="30022"/>
          <a:stretch/>
        </p:blipFill>
        <p:spPr>
          <a:xfrm>
            <a:off x="9893616" y="5478843"/>
            <a:ext cx="1945801" cy="1004678"/>
          </a:xfrm>
          <a:prstGeom prst="rect">
            <a:avLst/>
          </a:prstGeom>
        </p:spPr>
      </p:pic>
      <p:pic>
        <p:nvPicPr>
          <p:cNvPr id="10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91898BEA-37D4-438C-94AC-3EE2C95117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9993" y="430750"/>
            <a:ext cx="1010532" cy="1044330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6086A8DC-7616-45E6-BCA4-1BE6CB4295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1491" y="5841715"/>
            <a:ext cx="2228415" cy="338555"/>
          </a:xfrm>
        </p:spPr>
        <p:txBody>
          <a:bodyPr>
            <a:normAutofit/>
          </a:bodyPr>
          <a:lstStyle>
            <a:lvl1pPr marL="0" indent="0" algn="l">
              <a:buNone/>
              <a:defRPr lang="uk-UA" sz="2000" kern="1200" dirty="0">
                <a:solidFill>
                  <a:schemeClr val="bg1"/>
                </a:solidFill>
                <a:latin typeface="Nestle Text TF VN Book" panose="00000500000000000000" pitchFamily="2" charset="0"/>
                <a:ea typeface="+mn-ea"/>
                <a:cs typeface="+mn-cs"/>
              </a:defRPr>
            </a:lvl1pPr>
          </a:lstStyle>
          <a:p>
            <a:pPr algn="l"/>
            <a:r>
              <a:rPr lang="en-US"/>
              <a:t>Insert full Name</a:t>
            </a:r>
            <a:endParaRPr lang="uk-UA"/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4AAB94C7-8877-4510-A1C0-BB62A597C80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63408" y="6343440"/>
            <a:ext cx="2231697" cy="338554"/>
          </a:xfrm>
        </p:spPr>
        <p:txBody>
          <a:bodyPr>
            <a:normAutofit/>
          </a:bodyPr>
          <a:lstStyle>
            <a:lvl1pPr marL="0" indent="0">
              <a:buNone/>
              <a:defRPr lang="uk-UA" sz="1600" kern="1200" dirty="0">
                <a:solidFill>
                  <a:schemeClr val="bg1"/>
                </a:solidFill>
                <a:latin typeface="Nestle Text TF VN Book" panose="00000500000000000000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  <a:endParaRPr lang="uk-UA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FBC184F-2735-4CD5-954B-4789CA7F83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936604" y="5841715"/>
            <a:ext cx="1775721" cy="843248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Department logo if necessary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981250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estle - info slide vertical wav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850444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BBC2876-D9BA-4D2B-AEEA-B83FAB541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9036" y="105419"/>
            <a:ext cx="8603673" cy="1151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800" b="0">
                <a:solidFill>
                  <a:srgbClr val="007481"/>
                </a:solidFill>
                <a:latin typeface="Nestle Text TF VN Book" panose="00000500000000000000" pitchFamily="2" charset="0"/>
                <a:cs typeface="Nestle Script Office EUR" panose="00000500000000000000" pitchFamily="2" charset="0"/>
              </a:defRPr>
            </a:lvl1pPr>
          </a:lstStyle>
          <a:p>
            <a:r>
              <a:rPr lang="en-US"/>
              <a:t>Type the title here</a:t>
            </a:r>
            <a:endParaRPr lang="uk-U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1BA0ED-7A6F-41F1-9615-75D843D96B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9036" y="1727204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33365B1A-283B-4DC8-B8BF-7DA7E03811E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4774" y="309621"/>
            <a:ext cx="559724" cy="578444"/>
          </a:xfrm>
          <a:prstGeom prst="rect">
            <a:avLst/>
          </a:prstGeom>
        </p:spPr>
      </p:pic>
      <p:pic>
        <p:nvPicPr>
          <p:cNvPr id="11" name="Рисунок 6">
            <a:extLst>
              <a:ext uri="{FF2B5EF4-FFF2-40B4-BE49-F238E27FC236}">
                <a16:creationId xmlns:a16="http://schemas.microsoft.com/office/drawing/2014/main" id="{3C586DC4-307C-4500-9108-E097F1C363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78060" y="5659501"/>
            <a:ext cx="1618376" cy="888878"/>
          </a:xfrm>
          <a:prstGeom prst="rect">
            <a:avLst/>
          </a:prstGeom>
        </p:spPr>
      </p:pic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C551CBAA-DC8E-4737-8B4D-295C7178B3D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85210" y="6356020"/>
            <a:ext cx="1254760" cy="396232"/>
          </a:xfrm>
        </p:spPr>
        <p:txBody>
          <a:bodyPr/>
          <a:lstStyle/>
          <a:p>
            <a:fld id="{18527319-96B2-4868-A10F-10BE6E35D171}" type="datetime3">
              <a:rPr lang="uk-UA" smtClean="0"/>
              <a:t>30/05/23</a:t>
            </a:fld>
            <a:endParaRPr lang="uk-UA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19E7983-0BD3-460D-A4E3-FD60C6B78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1160" y="6356349"/>
            <a:ext cx="2047240" cy="396232"/>
          </a:xfrm>
        </p:spPr>
        <p:txBody>
          <a:bodyPr/>
          <a:lstStyle/>
          <a:p>
            <a:pPr algn="l"/>
            <a:r>
              <a:rPr lang="en-US"/>
              <a:t>SEE Business Update to ZEUR CEO – September 2022</a:t>
            </a:r>
            <a:endParaRPr lang="uk-UA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431FFEA-8289-492B-9E67-FEDAE1344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9350" y="6356350"/>
            <a:ext cx="635000" cy="365125"/>
          </a:xfrm>
        </p:spPr>
        <p:txBody>
          <a:bodyPr/>
          <a:lstStyle/>
          <a:p>
            <a:fld id="{FF595D2B-2352-4EF6-851E-B013A6FEC119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08202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3754" y="1560786"/>
            <a:ext cx="5181600" cy="46161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14292" y="1560785"/>
            <a:ext cx="5181600" cy="46161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0B3DC-98B4-4765-A655-678996F4F243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8E75A-4943-457F-AC84-4258CCB4A21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1055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theme" Target="../theme/theme3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38.xml"/><Relationship Id="rId21" Type="http://schemas.openxmlformats.org/officeDocument/2006/relationships/tags" Target="../tags/tag3.xml"/><Relationship Id="rId34" Type="http://schemas.openxmlformats.org/officeDocument/2006/relationships/image" Target="../media/image15.emf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tags" Target="../tags/tag7.xml"/><Relationship Id="rId33" Type="http://schemas.openxmlformats.org/officeDocument/2006/relationships/image" Target="../media/image14.emf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ags" Target="../tags/tag6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10" Type="http://schemas.openxmlformats.org/officeDocument/2006/relationships/slideLayout" Target="../slideLayouts/slideLayout45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8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3754" y="136525"/>
            <a:ext cx="10662138" cy="11823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3754" y="1552903"/>
            <a:ext cx="10662138" cy="46669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3754" y="6356349"/>
            <a:ext cx="16236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fld id="{0F90B3DC-98B4-4765-A655-678996F4F243}" type="datetimeFigureOut">
              <a:rPr lang="en-GB" smtClean="0"/>
              <a:pPr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42039" y="6356349"/>
            <a:ext cx="63920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18685" y="6356350"/>
            <a:ext cx="10462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fld id="{4268E75A-4943-457F-AC84-4258CCB4A21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223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614E3A"/>
          </a:solidFill>
          <a:latin typeface="Nestle Text TF Book Cnd" panose="00000506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614E3A"/>
          </a:solidFill>
          <a:latin typeface="Nestle Text TF Book Cnd" panose="00000506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rgbClr val="614E3A"/>
          </a:solidFill>
          <a:latin typeface="Nestle Text TF Book Cnd" panose="00000506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rgbClr val="614E3A"/>
          </a:solidFill>
          <a:latin typeface="Nestle Text TF Book Cnd" panose="00000506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rgbClr val="614E3A"/>
          </a:solidFill>
          <a:latin typeface="Nestle Text TF Book Cnd" panose="00000506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rgbClr val="614E3A"/>
          </a:solidFill>
          <a:latin typeface="Nestle Text TF Book Cnd" panose="00000506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3754" y="136525"/>
            <a:ext cx="10662138" cy="11823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3754" y="1868487"/>
            <a:ext cx="1066213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3754" y="6356349"/>
            <a:ext cx="16236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fld id="{0F90B3DC-98B4-4765-A655-678996F4F243}" type="datetimeFigureOut">
              <a:rPr lang="en-GB" smtClean="0"/>
              <a:pPr/>
              <a:t>30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42039" y="6356349"/>
            <a:ext cx="63920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18685" y="6356350"/>
            <a:ext cx="10462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fld id="{4268E75A-4943-457F-AC84-4258CCB4A21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619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614E3A"/>
          </a:solidFill>
          <a:latin typeface="Nestle Text TF Book Cnd" panose="00000506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614E3A"/>
          </a:solidFill>
          <a:latin typeface="Nestle Text TF Book Cnd" panose="00000506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rgbClr val="614E3A"/>
          </a:solidFill>
          <a:latin typeface="Nestle Text TF Book Cnd" panose="00000506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rgbClr val="614E3A"/>
          </a:solidFill>
          <a:latin typeface="Nestle Text TF Book Cnd" panose="00000506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rgbClr val="614E3A"/>
          </a:solidFill>
          <a:latin typeface="Nestle Text TF Book Cnd" panose="00000506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rgbClr val="614E3A"/>
          </a:solidFill>
          <a:latin typeface="Nestle Text TF Book Cnd" panose="00000506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7FFD4C-A74F-40DC-9F73-7A467C1CEC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382846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08" imgH="408" progId="TCLayout.ActiveDocument.1">
                  <p:embed/>
                </p:oleObj>
              </mc:Choice>
              <mc:Fallback>
                <p:oleObj name="think-cell Slide" r:id="rId32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17FFD4C-A74F-40DC-9F73-7A467C1CEC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713600"/>
            <a:ext cx="11329200" cy="4712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, Header</a:t>
            </a:r>
          </a:p>
          <a:p>
            <a:pPr lvl="4"/>
            <a:r>
              <a:rPr lang="en-GB" noProof="0"/>
              <a:t>Level 5, Body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, Small Header</a:t>
            </a:r>
          </a:p>
          <a:p>
            <a:pPr lvl="7"/>
            <a:r>
              <a:rPr lang="en-GB" noProof="0"/>
              <a:t>Level 8, Small Body</a:t>
            </a:r>
          </a:p>
          <a:p>
            <a:pPr lvl="8"/>
            <a:r>
              <a:rPr lang="en-GB" noProof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65" y="432000"/>
            <a:ext cx="11327999" cy="11509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6" name="Date Placeholder 35">
            <a:extLst>
              <a:ext uri="{FF2B5EF4-FFF2-40B4-BE49-F238E27FC236}">
                <a16:creationId xmlns:a16="http://schemas.microsoft.com/office/drawing/2014/main" id="{D196FE45-B138-495B-BD99-7BEBE7261C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9200" y="6586388"/>
            <a:ext cx="1224000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  <a:latin typeface="Nestle_Text Light" panose="00000400000000000000" pitchFamily="2" charset="0"/>
              </a:defRPr>
            </a:lvl1pPr>
          </a:lstStyle>
          <a:p>
            <a:fld id="{41CFC5EF-0A40-459C-A6B3-FA2938A175B6}" type="datetime3">
              <a:rPr lang="uk-UA" smtClean="0"/>
              <a:t>30/05/23</a:t>
            </a:fld>
            <a:endParaRPr lang="en-GB"/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8DDD27F8-A12F-4F2D-8F67-0BF210F11F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81600" y="6586388"/>
            <a:ext cx="2581200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  <a:latin typeface="Nestle_Text Light" panose="00000400000000000000" pitchFamily="2" charset="0"/>
              </a:defRPr>
            </a:lvl1pPr>
          </a:lstStyle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38" name="Slide Number Placeholder 37">
            <a:extLst>
              <a:ext uri="{FF2B5EF4-FFF2-40B4-BE49-F238E27FC236}">
                <a16:creationId xmlns:a16="http://schemas.microsoft.com/office/drawing/2014/main" id="{07A9A5EA-5C4F-4DA5-B73F-5F12F8599D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6586388"/>
            <a:ext cx="302400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  <a:latin typeface="Nestle_Text Light" panose="00000400000000000000" pitchFamily="2" charset="0"/>
              </a:defRPr>
            </a:lvl1pPr>
          </a:lstStyle>
          <a:p>
            <a:fld id="{213AD320-0145-465E-81D8-601FAF2734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34.0157471&lt;/Left&gt;&#10;      &lt;Top&gt;34.0157471&lt;/Top&gt;&#10;      &lt;Width&gt;74.33071&lt;/Width&gt;&#10;      &lt;Height&gt;471.9685&lt;/Height&gt;&#10;    &lt;/SubGrid&gt;&#10;    &lt;SubGrid&gt;&#10;      &lt;Left&gt;108.346458&lt;/Left&gt;&#10;      &lt;Top&gt;34.0157471&lt;/Top&gt;&#10;      &lt;Width&gt;74.33071&lt;/Width&gt;&#10;      &lt;Height&gt;471.9685&lt;/Height&gt;&#10;    &lt;/SubGrid&gt;&#10;    &lt;SubGrid&gt;&#10;      &lt;Left&gt;182.67717&lt;/Left&gt;&#10;      &lt;Top&gt;34.0157471&lt;/Top&gt;&#10;      &lt;Width&gt;74.33071&lt;/Width&gt;&#10;      &lt;Height&gt;471.9685&lt;/Height&gt;&#10;    &lt;/SubGrid&gt;&#10;    &lt;SubGrid&gt;&#10;      &lt;Left&gt;257.007874&lt;/Left&gt;&#10;      &lt;Top&gt;34.0157471&lt;/Top&gt;&#10;      &lt;Width&gt;74.33071&lt;/Width&gt;&#10;      &lt;Height&gt;471.9685&lt;/Height&gt;&#10;    &lt;/SubGrid&gt;&#10;    &lt;SubGrid&gt;&#10;      &lt;Left&gt;331.3386&lt;/Left&gt;&#10;      &lt;Top&gt;34.0157471&lt;/Top&gt;&#10;      &lt;Width&gt;74.33071&lt;/Width&gt;&#10;      &lt;Height&gt;471.9685&lt;/Height&gt;&#10;    &lt;/SubGrid&gt;&#10;    &lt;SubGrid&gt;&#10;      &lt;Left&gt;405.669281&lt;/Left&gt;&#10;      &lt;Top&gt;34.0157471&lt;/Top&gt;&#10;      &lt;Width&gt;74.33071&lt;/Width&gt;&#10;      &lt;Height&gt;471.9685&lt;/Height&gt;&#10;    &lt;/SubGrid&gt;&#10;    &lt;SubGrid&gt;&#10;      &lt;Left&gt;479.9999&lt;/Left&gt;&#10;      &lt;Top&gt;34.0157471&lt;/Top&gt;&#10;      &lt;Width&gt;74.33071&lt;/Width&gt;&#10;      &lt;Height&gt;471.9685&lt;/Height&gt;&#10;    &lt;/SubGrid&gt;&#10;    &lt;SubGrid&gt;&#10;      &lt;Left&gt;554.3306&lt;/Left&gt;&#10;      &lt;Top&gt;34.0157471&lt;/Top&gt;&#10;      &lt;Width&gt;74.33079&lt;/Width&gt;&#10;      &lt;Height&gt;471.9685&lt;/Height&gt;&#10;    &lt;/SubGrid&gt;&#10;    &lt;SubGrid&gt;&#10;      &lt;Left&gt;628.6613&lt;/Left&gt;&#10;      &lt;Top&gt;34.0157471&lt;/Top&gt;&#10;      &lt;Width&gt;74.33071&lt;/Width&gt;&#10;      &lt;Height&gt;471.9685&lt;/Height&gt;&#10;    &lt;/SubGrid&gt;&#10;    &lt;SubGrid&gt;&#10;      &lt;Left&gt;702.992065&lt;/Left&gt;&#10;      &lt;Top&gt;34.0157471&lt;/Top&gt;&#10;      &lt;Width&gt;74.33071&lt;/Width&gt;&#10;      &lt;Height&gt;471.9685&lt;/Height&gt;&#10;    &lt;/SubGrid&gt;&#10;    &lt;SubGrid&gt;&#10;      &lt;Left&gt;777.322754&lt;/Left&gt;&#10;      &lt;Top&gt;34.0157471&lt;/Top&gt;&#10;      &lt;Width&gt;74.33063&lt;/Width&gt;&#10;      &lt;Height&gt;471.9685&lt;/Height&gt;&#10;    &lt;/SubGrid&gt;&#10;    &lt;SubGrid&gt;&#10;      &lt;Left&gt;851.653442&lt;/Left&gt;&#10;      &lt;Top&gt;34.0157471&lt;/Top&gt;&#10;      &lt;Width&gt;74.33079&lt;/Width&gt;&#10;      &lt;Height&gt;471.9685&lt;/Height&gt;&#10;    &lt;/SubGrid&gt;&#10;  &lt;/SubGrids&gt;&#10;  &lt;WorkArea&gt;&#10;    &lt;Top&gt;34.0157471&lt;/Top&gt;&#10;    &lt;Left&gt;34.0157471&lt;/Left&gt;&#10;    &lt;Width&gt;891.9685&lt;/Width&gt;&#10;    &lt;Height&gt;471.9685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27D2483B-755A-4C7D-9156-ADDFA315E501}"/>
              </a:ext>
            </a:extLst>
          </p:cNvPr>
          <p:cNvSpPr/>
          <p:nvPr userDrawn="1"/>
        </p:nvSpPr>
        <p:spPr>
          <a:xfrm>
            <a:off x="430365" y="432000"/>
            <a:ext cx="11339360" cy="599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C8F98047-DB0D-4B1E-B04B-535E78530309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432000" y="432000"/>
            <a:ext cx="944000" cy="5994000"/>
          </a:xfrm>
          <a:prstGeom prst="rect">
            <a:avLst/>
          </a:prstGeom>
          <a:noFill/>
          <a:ln w="12700" cap="flat" cmpd="sng" algn="ctr">
            <a:solidFill>
              <a:srgbClr val="73A039">
                <a:alpha val="4000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F3C5C2EC-FE85-47D6-96CD-4A5C6AF21251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1376000" y="432000"/>
            <a:ext cx="944000" cy="5994000"/>
          </a:xfrm>
          <a:prstGeom prst="rect">
            <a:avLst/>
          </a:prstGeom>
          <a:noFill/>
          <a:ln w="12700" cap="flat" cmpd="sng" algn="ctr">
            <a:solidFill>
              <a:srgbClr val="73A039">
                <a:alpha val="4000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624D843D-F7F3-42AE-A7BC-D2C29A5A8D6F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2320000" y="432000"/>
            <a:ext cx="944000" cy="5994000"/>
          </a:xfrm>
          <a:prstGeom prst="rect">
            <a:avLst/>
          </a:prstGeom>
          <a:noFill/>
          <a:ln w="12700" cap="flat" cmpd="sng" algn="ctr">
            <a:solidFill>
              <a:srgbClr val="73A039">
                <a:alpha val="4000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092EA94-7DDA-4ECA-807E-A1F87B0C0587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3264000" y="432000"/>
            <a:ext cx="944000" cy="5994000"/>
          </a:xfrm>
          <a:prstGeom prst="rect">
            <a:avLst/>
          </a:prstGeom>
          <a:noFill/>
          <a:ln w="12700" cap="flat" cmpd="sng" algn="ctr">
            <a:solidFill>
              <a:srgbClr val="73A039">
                <a:alpha val="4000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AD2EAB53-A99C-4D3F-BD8C-2B9185FFD246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4208000" y="432000"/>
            <a:ext cx="944000" cy="5994000"/>
          </a:xfrm>
          <a:prstGeom prst="rect">
            <a:avLst/>
          </a:prstGeom>
          <a:noFill/>
          <a:ln w="12700" cap="flat" cmpd="sng" algn="ctr">
            <a:solidFill>
              <a:srgbClr val="73A039">
                <a:alpha val="4000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D46AE1DC-9EF8-4023-8E36-5D6A2B9E5D26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5152000" y="432000"/>
            <a:ext cx="944000" cy="5994000"/>
          </a:xfrm>
          <a:prstGeom prst="rect">
            <a:avLst/>
          </a:prstGeom>
          <a:noFill/>
          <a:ln w="12700" cap="flat" cmpd="sng" algn="ctr">
            <a:solidFill>
              <a:srgbClr val="73A039">
                <a:alpha val="4000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9D46550F-D408-497D-8DC4-427D2EB97101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6095999" y="432000"/>
            <a:ext cx="944000" cy="5994000"/>
          </a:xfrm>
          <a:prstGeom prst="rect">
            <a:avLst/>
          </a:prstGeom>
          <a:noFill/>
          <a:ln w="12700" cap="flat" cmpd="sng" algn="ctr">
            <a:solidFill>
              <a:srgbClr val="73A039">
                <a:alpha val="4000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52FA79A1-FAEA-4268-9244-77A8CF3A4E2F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7039999" y="432000"/>
            <a:ext cx="944001" cy="5994000"/>
          </a:xfrm>
          <a:prstGeom prst="rect">
            <a:avLst/>
          </a:prstGeom>
          <a:noFill/>
          <a:ln w="12700" cap="flat" cmpd="sng" algn="ctr">
            <a:solidFill>
              <a:srgbClr val="73A039">
                <a:alpha val="4000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E8F0D2A1-980A-4426-AA59-D94261E85B9C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7983999" y="432000"/>
            <a:ext cx="943999" cy="5994000"/>
          </a:xfrm>
          <a:prstGeom prst="rect">
            <a:avLst/>
          </a:prstGeom>
          <a:noFill/>
          <a:ln w="12700" cap="flat" cmpd="sng" algn="ctr">
            <a:solidFill>
              <a:srgbClr val="73A039">
                <a:alpha val="4000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85CF6BC5-17A9-44DF-A1A8-035871726D0D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8927999" y="432000"/>
            <a:ext cx="944000" cy="5994000"/>
          </a:xfrm>
          <a:prstGeom prst="rect">
            <a:avLst/>
          </a:prstGeom>
          <a:noFill/>
          <a:ln w="12700" cap="flat" cmpd="sng" algn="ctr">
            <a:solidFill>
              <a:srgbClr val="73A039">
                <a:alpha val="4000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B43CE2E4-A931-43AC-B983-7C90778DDB6C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9871999" y="432000"/>
            <a:ext cx="943999" cy="5994000"/>
          </a:xfrm>
          <a:prstGeom prst="rect">
            <a:avLst/>
          </a:prstGeom>
          <a:noFill/>
          <a:ln w="12700" cap="flat" cmpd="sng" algn="ctr">
            <a:solidFill>
              <a:srgbClr val="73A039">
                <a:alpha val="4000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436F39D6-5902-4A88-B4F3-4B53ABD24A81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10815999" y="432000"/>
            <a:ext cx="944001" cy="5994000"/>
          </a:xfrm>
          <a:prstGeom prst="rect">
            <a:avLst/>
          </a:prstGeom>
          <a:noFill/>
          <a:ln w="12700" cap="flat" cmpd="sng" algn="ctr">
            <a:solidFill>
              <a:srgbClr val="73A039">
                <a:alpha val="4000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E3324983-B0E0-42AA-A00A-5A66B01F7958}"/>
              </a:ext>
            </a:extLst>
          </p:cNvPr>
          <p:cNvSpPr/>
          <p:nvPr userDrawn="1"/>
        </p:nvSpPr>
        <p:spPr>
          <a:xfrm>
            <a:off x="0" y="0"/>
            <a:ext cx="322889" cy="324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D8351CCF-3908-49FE-90F9-E25557E32AA3}"/>
              </a:ext>
            </a:extLst>
          </p:cNvPr>
          <p:cNvSpPr/>
          <p:nvPr userDrawn="1"/>
        </p:nvSpPr>
        <p:spPr>
          <a:xfrm>
            <a:off x="11866327" y="6536129"/>
            <a:ext cx="322889" cy="3240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  <p:pic>
        <p:nvPicPr>
          <p:cNvPr id="42" name="Logo Nestle">
            <a:extLst>
              <a:ext uri="{FF2B5EF4-FFF2-40B4-BE49-F238E27FC236}">
                <a16:creationId xmlns:a16="http://schemas.microsoft.com/office/drawing/2014/main" id="{7C238445-F6E7-4C5F-8252-6983091387D1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8572" y="6304381"/>
            <a:ext cx="1541154" cy="410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476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600" b="1" kern="1200">
          <a:solidFill>
            <a:srgbClr val="0067A0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1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000" b="1" kern="1200" baseline="0">
          <a:solidFill>
            <a:schemeClr val="tx2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72">
          <p15:clr>
            <a:srgbClr val="F26B43"/>
          </p15:clr>
        </p15:guide>
        <p15:guide id="4" orient="horz" pos="997">
          <p15:clr>
            <a:srgbClr val="F26B43"/>
          </p15:clr>
        </p15:guide>
        <p15:guide id="5" pos="271">
          <p15:clr>
            <a:srgbClr val="F26B43"/>
          </p15:clr>
        </p15:guide>
        <p15:guide id="6" pos="7414">
          <p15:clr>
            <a:srgbClr val="F26B43"/>
          </p15:clr>
        </p15:guide>
        <p15:guide id="7" orient="horz" pos="1079">
          <p15:clr>
            <a:srgbClr val="F26B43"/>
          </p15:clr>
        </p15:guide>
        <p15:guide id="8" orient="horz" pos="4047">
          <p15:clr>
            <a:srgbClr val="F26B43"/>
          </p15:clr>
        </p15:guide>
        <p15:guide id="9" pos="204">
          <p15:clr>
            <a:srgbClr val="A4A3A4"/>
          </p15:clr>
        </p15:guide>
        <p15:guide id="10" pos="7474">
          <p15:clr>
            <a:srgbClr val="A4A3A4"/>
          </p15:clr>
        </p15:guide>
        <p15:guide id="11" orient="horz" pos="4115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F96920-0627-4362-B75B-1FC6156A1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EFDC77-9579-4B4B-86CB-E2B37253FE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8A3E05-6A3D-4D7A-A253-006D2D5099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B896B5-6C34-4355-B33F-6A457942B10F}" type="datetimeFigureOut">
              <a:rPr lang="en-GB" smtClean="0"/>
              <a:t>30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B7603D-C40E-40DE-8922-8FD4BA5745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EA9BF1-A0AE-45D6-A2D6-5CEB9605A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CD75C0-7AA0-4BB0-9D64-7CF974E74F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85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F96920-0627-4362-B75B-1FC6156A1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EFDC77-9579-4B4B-86CB-E2B37253FE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8A3E05-6A3D-4D7A-A253-006D2D5099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6EB1A-F862-453A-8900-0B70DADEAF23}" type="datetime3">
              <a:rPr lang="uk-UA" smtClean="0"/>
              <a:t>30/05/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B7603D-C40E-40DE-8922-8FD4BA5745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EE Business Update to ZEUR CEO – September 2022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EA9BF1-A0AE-45D6-A2D6-5CEB9605A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CD75C0-7AA0-4BB0-9D64-7CF974E74F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3181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svg"/><Relationship Id="rId18" Type="http://schemas.openxmlformats.org/officeDocument/2006/relationships/image" Target="../media/image75.png"/><Relationship Id="rId3" Type="http://schemas.openxmlformats.org/officeDocument/2006/relationships/image" Target="../media/image60.jpeg"/><Relationship Id="rId7" Type="http://schemas.openxmlformats.org/officeDocument/2006/relationships/image" Target="../media/image64.svg"/><Relationship Id="rId12" Type="http://schemas.openxmlformats.org/officeDocument/2006/relationships/image" Target="../media/image69.png"/><Relationship Id="rId17" Type="http://schemas.openxmlformats.org/officeDocument/2006/relationships/image" Target="../media/image74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73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63.png"/><Relationship Id="rId11" Type="http://schemas.openxmlformats.org/officeDocument/2006/relationships/image" Target="../media/image68.svg"/><Relationship Id="rId5" Type="http://schemas.openxmlformats.org/officeDocument/2006/relationships/image" Target="../media/image62.svg"/><Relationship Id="rId15" Type="http://schemas.openxmlformats.org/officeDocument/2006/relationships/image" Target="../media/image72.svg"/><Relationship Id="rId10" Type="http://schemas.openxmlformats.org/officeDocument/2006/relationships/image" Target="../media/image67.png"/><Relationship Id="rId19" Type="http://schemas.openxmlformats.org/officeDocument/2006/relationships/image" Target="../media/image76.svg"/><Relationship Id="rId4" Type="http://schemas.openxmlformats.org/officeDocument/2006/relationships/image" Target="../media/image61.png"/><Relationship Id="rId9" Type="http://schemas.openxmlformats.org/officeDocument/2006/relationships/image" Target="../media/image66.svg"/><Relationship Id="rId14" Type="http://schemas.openxmlformats.org/officeDocument/2006/relationships/image" Target="../media/image7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27.jpeg"/><Relationship Id="rId7" Type="http://schemas.openxmlformats.org/officeDocument/2006/relationships/image" Target="../media/image31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0.jpe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jpeg"/><Relationship Id="rId9" Type="http://schemas.openxmlformats.org/officeDocument/2006/relationships/image" Target="../media/image3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5.jpeg"/><Relationship Id="rId7" Type="http://schemas.openxmlformats.org/officeDocument/2006/relationships/image" Target="../media/image38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7.jpeg"/><Relationship Id="rId11" Type="http://schemas.microsoft.com/office/2007/relationships/hdphoto" Target="../media/hdphoto2.wdp"/><Relationship Id="rId5" Type="http://schemas.microsoft.com/office/2007/relationships/hdphoto" Target="../media/hdphoto1.wdp"/><Relationship Id="rId10" Type="http://schemas.openxmlformats.org/officeDocument/2006/relationships/image" Target="../media/image41.png"/><Relationship Id="rId4" Type="http://schemas.openxmlformats.org/officeDocument/2006/relationships/image" Target="../media/image36.png"/><Relationship Id="rId9" Type="http://schemas.openxmlformats.org/officeDocument/2006/relationships/image" Target="../media/image4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g"/><Relationship Id="rId13" Type="http://schemas.openxmlformats.org/officeDocument/2006/relationships/image" Target="../media/image55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58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jp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B904D72-276F-48E1-8E1D-57B542800F79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25200" y="892526"/>
            <a:ext cx="11541600" cy="5528464"/>
          </a:xfr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DD2862-34F3-408A-9207-B7BAD974A54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63513D"/>
                </a:solidFill>
                <a:effectLst/>
                <a:uLnTx/>
                <a:uFillTx/>
                <a:latin typeface="Nestle Text TF Book Cnd" panose="00000506000000000000" pitchFamily="2" charset="0"/>
                <a:ea typeface="+mn-ea"/>
                <a:cs typeface="+mn-cs"/>
              </a:rPr>
              <a:t>29.03.2022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63513D"/>
              </a:solidFill>
              <a:effectLst/>
              <a:uLnTx/>
              <a:uFillTx/>
              <a:latin typeface="Nestle Text TF Book Cnd" panose="00000506000000000000" pitchFamily="2" charset="0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64A234-B955-424D-A692-61C33C9E4A9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Nestle Text TF Book Cnd" panose="00000506000000000000" pitchFamily="2" charset="0"/>
                <a:ea typeface="+mn-ea"/>
                <a:cs typeface="+mn-cs"/>
              </a:rPr>
              <a:t>Business Review - SEE (SEM)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Nestle Text TF Book Cnd" panose="00000506000000000000" pitchFamily="2" charset="0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F6E4E1-4176-4764-9628-1E0E4CF150E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Nestle Text TF Book Cnd" panose="00000506000000000000" pitchFamily="2" charset="0"/>
                <a:ea typeface="+mn-ea"/>
                <a:cs typeface="+mn-cs"/>
              </a:rPr>
              <a:t>0	0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1D0993-E738-C025-EA77-E11AA97AD130}"/>
              </a:ext>
            </a:extLst>
          </p:cNvPr>
          <p:cNvSpPr txBox="1"/>
          <p:nvPr/>
        </p:nvSpPr>
        <p:spPr>
          <a:xfrm>
            <a:off x="193249" y="6420990"/>
            <a:ext cx="60991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614E3A"/>
                </a:solidFill>
                <a:latin typeface="Nestle Text TF Book Cnd" panose="00000506000000000000" pitchFamily="2" charset="0"/>
                <a:cs typeface="Nestle Text TF AR Book" panose="00000500000000000000" pitchFamily="2" charset="0"/>
              </a:rPr>
              <a:t>Confidential. For internal use only.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52F3701-9A1A-1112-4E04-211D4D5630A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0964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id="{56C53D3A-453A-BA19-7CC9-682F844307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0678" y="5382706"/>
            <a:ext cx="1818525" cy="773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0CAC7CD-8C99-CCA1-6328-57BB2765BBD0}"/>
              </a:ext>
            </a:extLst>
          </p:cNvPr>
          <p:cNvGrpSpPr/>
          <p:nvPr/>
        </p:nvGrpSpPr>
        <p:grpSpPr>
          <a:xfrm>
            <a:off x="-680255" y="4925896"/>
            <a:ext cx="5229570" cy="860425"/>
            <a:chOff x="-1219222" y="-580572"/>
            <a:chExt cx="9182563" cy="2524497"/>
          </a:xfrm>
          <a:solidFill>
            <a:srgbClr val="614E3A"/>
          </a:solidFill>
        </p:grpSpPr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CEB70B57-2BF5-7D26-181E-6FD5B2507140}"/>
                </a:ext>
              </a:extLst>
            </p:cNvPr>
            <p:cNvSpPr/>
            <p:nvPr/>
          </p:nvSpPr>
          <p:spPr>
            <a:xfrm>
              <a:off x="6476999" y="-580572"/>
              <a:ext cx="1486342" cy="252449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uk-U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3B70D12A-ED75-7CF2-AB60-E75795F76F3C}"/>
                </a:ext>
              </a:extLst>
            </p:cNvPr>
            <p:cNvSpPr/>
            <p:nvPr/>
          </p:nvSpPr>
          <p:spPr>
            <a:xfrm>
              <a:off x="-1219222" y="-580572"/>
              <a:ext cx="8362143" cy="2524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uk-U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DF13C706-E379-BA07-03E8-5B7A7F30685F}"/>
              </a:ext>
            </a:extLst>
          </p:cNvPr>
          <p:cNvGrpSpPr/>
          <p:nvPr/>
        </p:nvGrpSpPr>
        <p:grpSpPr>
          <a:xfrm>
            <a:off x="-638294" y="3974274"/>
            <a:ext cx="5989454" cy="860425"/>
            <a:chOff x="-1219222" y="-580572"/>
            <a:chExt cx="9037330" cy="2524497"/>
          </a:xfrm>
          <a:solidFill>
            <a:srgbClr val="614E3A"/>
          </a:solidFill>
        </p:grpSpPr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BB2F5915-0723-51E1-B55A-22B0A363896E}"/>
                </a:ext>
              </a:extLst>
            </p:cNvPr>
            <p:cNvSpPr/>
            <p:nvPr/>
          </p:nvSpPr>
          <p:spPr>
            <a:xfrm>
              <a:off x="6407023" y="-580572"/>
              <a:ext cx="1411085" cy="252449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uk-U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69E8118A-2060-128F-DD78-8A1FF2B5AB5D}"/>
                </a:ext>
              </a:extLst>
            </p:cNvPr>
            <p:cNvSpPr/>
            <p:nvPr/>
          </p:nvSpPr>
          <p:spPr>
            <a:xfrm>
              <a:off x="-1219222" y="-580572"/>
              <a:ext cx="8302172" cy="252449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uk-U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E7C0914-9E53-2828-4AE6-23DEE3FC7A7F}"/>
              </a:ext>
            </a:extLst>
          </p:cNvPr>
          <p:cNvGrpSpPr/>
          <p:nvPr/>
        </p:nvGrpSpPr>
        <p:grpSpPr>
          <a:xfrm>
            <a:off x="-638294" y="3022651"/>
            <a:ext cx="6814593" cy="860425"/>
            <a:chOff x="-1219222" y="-580575"/>
            <a:chExt cx="8931712" cy="2524498"/>
          </a:xfrm>
          <a:solidFill>
            <a:srgbClr val="614E3A"/>
          </a:solidFill>
        </p:grpSpPr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6E000DBF-EABD-4489-FCE5-71BFD8A4C822}"/>
                </a:ext>
              </a:extLst>
            </p:cNvPr>
            <p:cNvSpPr/>
            <p:nvPr/>
          </p:nvSpPr>
          <p:spPr>
            <a:xfrm>
              <a:off x="6418628" y="-580575"/>
              <a:ext cx="1293862" cy="252449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uk-U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270109B5-24B1-9E03-658C-02A8F34CDD9B}"/>
                </a:ext>
              </a:extLst>
            </p:cNvPr>
            <p:cNvSpPr/>
            <p:nvPr/>
          </p:nvSpPr>
          <p:spPr>
            <a:xfrm>
              <a:off x="-1219222" y="-580572"/>
              <a:ext cx="8302172" cy="252449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uk-U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Объект 2">
            <a:extLst>
              <a:ext uri="{FF2B5EF4-FFF2-40B4-BE49-F238E27FC236}">
                <a16:creationId xmlns:a16="http://schemas.microsoft.com/office/drawing/2014/main" id="{F7AC48EC-752D-522B-CF1E-6B7CCB8FB4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6017" y="3089838"/>
            <a:ext cx="4168830" cy="4608739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>
                <a:solidFill>
                  <a:schemeClr val="bg1"/>
                </a:solidFill>
              </a:rPr>
              <a:t>Physical Safety</a:t>
            </a:r>
            <a:endParaRPr lang="en-US" sz="1400">
              <a:solidFill>
                <a:schemeClr val="bg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400">
                <a:solidFill>
                  <a:schemeClr val="bg1"/>
                </a:solidFill>
              </a:rPr>
              <a:t>I am safe</a:t>
            </a:r>
          </a:p>
          <a:p>
            <a:pPr marL="0" indent="0">
              <a:spcBef>
                <a:spcPts val="0"/>
              </a:spcBef>
              <a:buNone/>
            </a:pPr>
            <a:endParaRPr lang="en-US">
              <a:solidFill>
                <a:schemeClr val="bg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>
                <a:solidFill>
                  <a:schemeClr val="bg1"/>
                </a:solidFill>
              </a:rPr>
              <a:t>Financial Safet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>
                <a:solidFill>
                  <a:schemeClr val="bg1"/>
                </a:solidFill>
              </a:rPr>
              <a:t>This meets my needs</a:t>
            </a:r>
          </a:p>
          <a:p>
            <a:pPr marL="0" indent="0">
              <a:spcBef>
                <a:spcPts val="0"/>
              </a:spcBef>
              <a:buNone/>
            </a:pPr>
            <a:endParaRPr lang="en-US">
              <a:solidFill>
                <a:schemeClr val="bg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>
                <a:solidFill>
                  <a:schemeClr val="bg1"/>
                </a:solidFill>
              </a:rPr>
              <a:t>Mental health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400">
                <a:solidFill>
                  <a:schemeClr val="bg1"/>
                </a:solidFill>
              </a:rPr>
              <a:t>How are you?</a:t>
            </a:r>
          </a:p>
        </p:txBody>
      </p:sp>
      <p:pic>
        <p:nvPicPr>
          <p:cNvPr id="38" name="Рисунок 37" descr="Монеты контур">
            <a:extLst>
              <a:ext uri="{FF2B5EF4-FFF2-40B4-BE49-F238E27FC236}">
                <a16:creationId xmlns:a16="http://schemas.microsoft.com/office/drawing/2014/main" id="{BC549745-7457-09BC-75C4-DA80B499065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5191" y="4039695"/>
            <a:ext cx="660400" cy="660400"/>
          </a:xfrm>
          <a:prstGeom prst="rect">
            <a:avLst/>
          </a:prstGeom>
        </p:spPr>
      </p:pic>
      <p:pic>
        <p:nvPicPr>
          <p:cNvPr id="40" name="Рисунок 39" descr="Уход контур">
            <a:extLst>
              <a:ext uri="{FF2B5EF4-FFF2-40B4-BE49-F238E27FC236}">
                <a16:creationId xmlns:a16="http://schemas.microsoft.com/office/drawing/2014/main" id="{4DB1CAB6-B35C-F6AB-5E22-0D85BA52EC2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1041" y="3079896"/>
            <a:ext cx="646603" cy="646603"/>
          </a:xfrm>
          <a:prstGeom prst="rect">
            <a:avLst/>
          </a:prstGeom>
        </p:spPr>
      </p:pic>
      <p:pic>
        <p:nvPicPr>
          <p:cNvPr id="42" name="Рисунок 41" descr="Психическое здоровье контур">
            <a:extLst>
              <a:ext uri="{FF2B5EF4-FFF2-40B4-BE49-F238E27FC236}">
                <a16:creationId xmlns:a16="http://schemas.microsoft.com/office/drawing/2014/main" id="{31EBDB42-4404-78E0-001B-EB7E49C9F696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9487" y="5042133"/>
            <a:ext cx="681510" cy="681510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CB27F053-63F6-D598-D1A3-0A59409ACE9F}"/>
              </a:ext>
            </a:extLst>
          </p:cNvPr>
          <p:cNvSpPr txBox="1"/>
          <p:nvPr/>
        </p:nvSpPr>
        <p:spPr>
          <a:xfrm>
            <a:off x="1212664" y="2017124"/>
            <a:ext cx="67691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614E3A"/>
                </a:solidFill>
                <a:effectLst/>
                <a:uLnTx/>
                <a:uFillTx/>
                <a:latin typeface="Nestle Brush" panose="00000500000000000000" pitchFamily="2" charset="0"/>
                <a:ea typeface="+mn-ea"/>
                <a:cs typeface="+mn-cs"/>
              </a:rPr>
              <a:t>Caring of peop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614E3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43FC8852-C067-CB26-11E8-60CC76785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031" y="409368"/>
            <a:ext cx="8664885" cy="118232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400">
                <a:ea typeface="+mn-ea"/>
                <a:cs typeface="Nestle Text TF AR Book" panose="00000500000000000000" pitchFamily="2" charset="0"/>
              </a:rPr>
              <a:t>War makes us better</a:t>
            </a:r>
            <a:endParaRPr lang="uk-UA" sz="5400">
              <a:ea typeface="+mn-ea"/>
              <a:cs typeface="Nestle Text TF AR Book" panose="00000500000000000000" pitchFamily="2" charset="0"/>
            </a:endParaRP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4B55EF81-FE6F-E125-B740-ECF3BC5334E1}"/>
              </a:ext>
            </a:extLst>
          </p:cNvPr>
          <p:cNvGrpSpPr/>
          <p:nvPr/>
        </p:nvGrpSpPr>
        <p:grpSpPr>
          <a:xfrm>
            <a:off x="2625102" y="-978464"/>
            <a:ext cx="10617726" cy="8983670"/>
            <a:chOff x="2625102" y="-978464"/>
            <a:chExt cx="10617726" cy="8983670"/>
          </a:xfrm>
        </p:grpSpPr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8C940A7A-3E75-D443-FCC7-2A38896F4288}"/>
                </a:ext>
              </a:extLst>
            </p:cNvPr>
            <p:cNvSpPr/>
            <p:nvPr/>
          </p:nvSpPr>
          <p:spPr>
            <a:xfrm rot="20750590">
              <a:off x="2625102" y="-978464"/>
              <a:ext cx="10617726" cy="8983670"/>
            </a:xfrm>
            <a:custGeom>
              <a:avLst/>
              <a:gdLst>
                <a:gd name="connsiteX0" fmla="*/ 5115484 w 9378278"/>
                <a:gd name="connsiteY0" fmla="*/ 342227 h 9295912"/>
                <a:gd name="connsiteX1" fmla="*/ 5115484 w 9378278"/>
                <a:gd name="connsiteY1" fmla="*/ 342227 h 9295912"/>
                <a:gd name="connsiteX2" fmla="*/ 4794641 w 9378278"/>
                <a:gd name="connsiteY2" fmla="*/ 614943 h 9295912"/>
                <a:gd name="connsiteX3" fmla="*/ 3816073 w 9378278"/>
                <a:gd name="connsiteY3" fmla="*/ 1994564 h 9295912"/>
                <a:gd name="connsiteX4" fmla="*/ 3398978 w 9378278"/>
                <a:gd name="connsiteY4" fmla="*/ 3181680 h 9295912"/>
                <a:gd name="connsiteX5" fmla="*/ 2292073 w 9378278"/>
                <a:gd name="connsiteY5" fmla="*/ 4497132 h 9295912"/>
                <a:gd name="connsiteX6" fmla="*/ 2131652 w 9378278"/>
                <a:gd name="connsiteY6" fmla="*/ 4737764 h 9295912"/>
                <a:gd name="connsiteX7" fmla="*/ 2163736 w 9378278"/>
                <a:gd name="connsiteY7" fmla="*/ 5347364 h 9295912"/>
                <a:gd name="connsiteX8" fmla="*/ 1554136 w 9378278"/>
                <a:gd name="connsiteY8" fmla="*/ 6261764 h 9295912"/>
                <a:gd name="connsiteX9" fmla="*/ 1441841 w 9378278"/>
                <a:gd name="connsiteY9" fmla="*/ 7625343 h 9295912"/>
                <a:gd name="connsiteX10" fmla="*/ 1297463 w 9378278"/>
                <a:gd name="connsiteY10" fmla="*/ 8058480 h 9295912"/>
                <a:gd name="connsiteX11" fmla="*/ 816199 w 9378278"/>
                <a:gd name="connsiteY11" fmla="*/ 8796416 h 9295912"/>
                <a:gd name="connsiteX12" fmla="*/ 431189 w 9378278"/>
                <a:gd name="connsiteY12" fmla="*/ 9117259 h 9295912"/>
                <a:gd name="connsiteX13" fmla="*/ 30136 w 9378278"/>
                <a:gd name="connsiteY13" fmla="*/ 9293722 h 9295912"/>
                <a:gd name="connsiteX14" fmla="*/ 1425799 w 9378278"/>
                <a:gd name="connsiteY14" fmla="*/ 9213511 h 9295912"/>
                <a:gd name="connsiteX15" fmla="*/ 1987273 w 9378278"/>
                <a:gd name="connsiteY15" fmla="*/ 9149343 h 9295912"/>
                <a:gd name="connsiteX16" fmla="*/ 2051441 w 9378278"/>
                <a:gd name="connsiteY16" fmla="*/ 9117259 h 9295912"/>
                <a:gd name="connsiteX17" fmla="*/ 3431063 w 9378278"/>
                <a:gd name="connsiteY17" fmla="*/ 8716206 h 9295912"/>
                <a:gd name="connsiteX18" fmla="*/ 5275905 w 9378278"/>
                <a:gd name="connsiteY18" fmla="*/ 8475574 h 9295912"/>
                <a:gd name="connsiteX19" fmla="*/ 8660789 w 9378278"/>
                <a:gd name="connsiteY19" fmla="*/ 8539743 h 9295912"/>
                <a:gd name="connsiteX20" fmla="*/ 9334557 w 9378278"/>
                <a:gd name="connsiteY20" fmla="*/ 8828501 h 9295912"/>
                <a:gd name="connsiteX21" fmla="*/ 9045799 w 9378278"/>
                <a:gd name="connsiteY21" fmla="*/ 8106606 h 9295912"/>
                <a:gd name="connsiteX22" fmla="*/ 8837252 w 9378278"/>
                <a:gd name="connsiteY22" fmla="*/ 7160122 h 9295912"/>
                <a:gd name="connsiteX23" fmla="*/ 8692873 w 9378278"/>
                <a:gd name="connsiteY23" fmla="*/ 6390101 h 9295912"/>
                <a:gd name="connsiteX24" fmla="*/ 8468284 w 9378278"/>
                <a:gd name="connsiteY24" fmla="*/ 5908837 h 9295912"/>
                <a:gd name="connsiteX25" fmla="*/ 8388073 w 9378278"/>
                <a:gd name="connsiteY25" fmla="*/ 4208374 h 9295912"/>
                <a:gd name="connsiteX26" fmla="*/ 8580578 w 9378278"/>
                <a:gd name="connsiteY26" fmla="*/ 3566690 h 9295912"/>
                <a:gd name="connsiteX27" fmla="*/ 8628705 w 9378278"/>
                <a:gd name="connsiteY27" fmla="*/ 2876880 h 9295912"/>
                <a:gd name="connsiteX28" fmla="*/ 8740999 w 9378278"/>
                <a:gd name="connsiteY28" fmla="*/ 2331448 h 9295912"/>
                <a:gd name="connsiteX29" fmla="*/ 8724957 w 9378278"/>
                <a:gd name="connsiteY29" fmla="*/ 1080164 h 9295912"/>
                <a:gd name="connsiteX30" fmla="*/ 8757041 w 9378278"/>
                <a:gd name="connsiteY30" fmla="*/ 422437 h 9295912"/>
                <a:gd name="connsiteX31" fmla="*/ 8500368 w 9378278"/>
                <a:gd name="connsiteY31" fmla="*/ 486606 h 9295912"/>
                <a:gd name="connsiteX32" fmla="*/ 7858684 w 9378278"/>
                <a:gd name="connsiteY32" fmla="*/ 518690 h 9295912"/>
                <a:gd name="connsiteX33" fmla="*/ 6799905 w 9378278"/>
                <a:gd name="connsiteY33" fmla="*/ 470564 h 9295912"/>
                <a:gd name="connsiteX34" fmla="*/ 5741126 w 9378278"/>
                <a:gd name="connsiteY34" fmla="*/ 550774 h 9295912"/>
                <a:gd name="connsiteX35" fmla="*/ 5291947 w 9378278"/>
                <a:gd name="connsiteY35" fmla="*/ 438480 h 9295912"/>
                <a:gd name="connsiteX36" fmla="*/ 3944410 w 9378278"/>
                <a:gd name="connsiteY36" fmla="*/ 37427 h 9295912"/>
                <a:gd name="connsiteX37" fmla="*/ 4826726 w 9378278"/>
                <a:gd name="connsiteY37" fmla="*/ 374311 h 9295912"/>
                <a:gd name="connsiteX38" fmla="*/ 5035273 w 9378278"/>
                <a:gd name="connsiteY38" fmla="*/ 502648 h 9295912"/>
                <a:gd name="connsiteX39" fmla="*/ 5131526 w 9378278"/>
                <a:gd name="connsiteY39" fmla="*/ 486606 h 9295912"/>
                <a:gd name="connsiteX40" fmla="*/ 5099441 w 9378278"/>
                <a:gd name="connsiteY40" fmla="*/ 454522 h 9295912"/>
                <a:gd name="connsiteX41" fmla="*/ 5019231 w 9378278"/>
                <a:gd name="connsiteY41" fmla="*/ 406395 h 9295912"/>
                <a:gd name="connsiteX42" fmla="*/ 5115484 w 9378278"/>
                <a:gd name="connsiteY42" fmla="*/ 342227 h 9295912"/>
                <a:gd name="connsiteX0" fmla="*/ 5115484 w 9378278"/>
                <a:gd name="connsiteY0" fmla="*/ 9515 h 8963200"/>
                <a:gd name="connsiteX1" fmla="*/ 5115484 w 9378278"/>
                <a:gd name="connsiteY1" fmla="*/ 9515 h 8963200"/>
                <a:gd name="connsiteX2" fmla="*/ 4794641 w 9378278"/>
                <a:gd name="connsiteY2" fmla="*/ 282231 h 8963200"/>
                <a:gd name="connsiteX3" fmla="*/ 3816073 w 9378278"/>
                <a:gd name="connsiteY3" fmla="*/ 1661852 h 8963200"/>
                <a:gd name="connsiteX4" fmla="*/ 3398978 w 9378278"/>
                <a:gd name="connsiteY4" fmla="*/ 2848968 h 8963200"/>
                <a:gd name="connsiteX5" fmla="*/ 2292073 w 9378278"/>
                <a:gd name="connsiteY5" fmla="*/ 4164420 h 8963200"/>
                <a:gd name="connsiteX6" fmla="*/ 2131652 w 9378278"/>
                <a:gd name="connsiteY6" fmla="*/ 4405052 h 8963200"/>
                <a:gd name="connsiteX7" fmla="*/ 2163736 w 9378278"/>
                <a:gd name="connsiteY7" fmla="*/ 5014652 h 8963200"/>
                <a:gd name="connsiteX8" fmla="*/ 1554136 w 9378278"/>
                <a:gd name="connsiteY8" fmla="*/ 5929052 h 8963200"/>
                <a:gd name="connsiteX9" fmla="*/ 1441841 w 9378278"/>
                <a:gd name="connsiteY9" fmla="*/ 7292631 h 8963200"/>
                <a:gd name="connsiteX10" fmla="*/ 1297463 w 9378278"/>
                <a:gd name="connsiteY10" fmla="*/ 7725768 h 8963200"/>
                <a:gd name="connsiteX11" fmla="*/ 816199 w 9378278"/>
                <a:gd name="connsiteY11" fmla="*/ 8463704 h 8963200"/>
                <a:gd name="connsiteX12" fmla="*/ 431189 w 9378278"/>
                <a:gd name="connsiteY12" fmla="*/ 8784547 h 8963200"/>
                <a:gd name="connsiteX13" fmla="*/ 30136 w 9378278"/>
                <a:gd name="connsiteY13" fmla="*/ 8961010 h 8963200"/>
                <a:gd name="connsiteX14" fmla="*/ 1425799 w 9378278"/>
                <a:gd name="connsiteY14" fmla="*/ 8880799 h 8963200"/>
                <a:gd name="connsiteX15" fmla="*/ 1987273 w 9378278"/>
                <a:gd name="connsiteY15" fmla="*/ 8816631 h 8963200"/>
                <a:gd name="connsiteX16" fmla="*/ 2051441 w 9378278"/>
                <a:gd name="connsiteY16" fmla="*/ 8784547 h 8963200"/>
                <a:gd name="connsiteX17" fmla="*/ 3431063 w 9378278"/>
                <a:gd name="connsiteY17" fmla="*/ 8383494 h 8963200"/>
                <a:gd name="connsiteX18" fmla="*/ 5275905 w 9378278"/>
                <a:gd name="connsiteY18" fmla="*/ 8142862 h 8963200"/>
                <a:gd name="connsiteX19" fmla="*/ 8660789 w 9378278"/>
                <a:gd name="connsiteY19" fmla="*/ 8207031 h 8963200"/>
                <a:gd name="connsiteX20" fmla="*/ 9334557 w 9378278"/>
                <a:gd name="connsiteY20" fmla="*/ 8495789 h 8963200"/>
                <a:gd name="connsiteX21" fmla="*/ 9045799 w 9378278"/>
                <a:gd name="connsiteY21" fmla="*/ 7773894 h 8963200"/>
                <a:gd name="connsiteX22" fmla="*/ 8837252 w 9378278"/>
                <a:gd name="connsiteY22" fmla="*/ 6827410 h 8963200"/>
                <a:gd name="connsiteX23" fmla="*/ 8692873 w 9378278"/>
                <a:gd name="connsiteY23" fmla="*/ 6057389 h 8963200"/>
                <a:gd name="connsiteX24" fmla="*/ 8468284 w 9378278"/>
                <a:gd name="connsiteY24" fmla="*/ 5576125 h 8963200"/>
                <a:gd name="connsiteX25" fmla="*/ 8388073 w 9378278"/>
                <a:gd name="connsiteY25" fmla="*/ 3875662 h 8963200"/>
                <a:gd name="connsiteX26" fmla="*/ 8580578 w 9378278"/>
                <a:gd name="connsiteY26" fmla="*/ 3233978 h 8963200"/>
                <a:gd name="connsiteX27" fmla="*/ 8628705 w 9378278"/>
                <a:gd name="connsiteY27" fmla="*/ 2544168 h 8963200"/>
                <a:gd name="connsiteX28" fmla="*/ 8740999 w 9378278"/>
                <a:gd name="connsiteY28" fmla="*/ 1998736 h 8963200"/>
                <a:gd name="connsiteX29" fmla="*/ 8724957 w 9378278"/>
                <a:gd name="connsiteY29" fmla="*/ 747452 h 8963200"/>
                <a:gd name="connsiteX30" fmla="*/ 8757041 w 9378278"/>
                <a:gd name="connsiteY30" fmla="*/ 89725 h 8963200"/>
                <a:gd name="connsiteX31" fmla="*/ 8500368 w 9378278"/>
                <a:gd name="connsiteY31" fmla="*/ 153894 h 8963200"/>
                <a:gd name="connsiteX32" fmla="*/ 7858684 w 9378278"/>
                <a:gd name="connsiteY32" fmla="*/ 185978 h 8963200"/>
                <a:gd name="connsiteX33" fmla="*/ 6799905 w 9378278"/>
                <a:gd name="connsiteY33" fmla="*/ 137852 h 8963200"/>
                <a:gd name="connsiteX34" fmla="*/ 5741126 w 9378278"/>
                <a:gd name="connsiteY34" fmla="*/ 218062 h 8963200"/>
                <a:gd name="connsiteX35" fmla="*/ 5291947 w 9378278"/>
                <a:gd name="connsiteY35" fmla="*/ 105768 h 8963200"/>
                <a:gd name="connsiteX36" fmla="*/ 5553821 w 9378278"/>
                <a:gd name="connsiteY36" fmla="*/ 151032 h 8963200"/>
                <a:gd name="connsiteX37" fmla="*/ 4826726 w 9378278"/>
                <a:gd name="connsiteY37" fmla="*/ 41599 h 8963200"/>
                <a:gd name="connsiteX38" fmla="*/ 5035273 w 9378278"/>
                <a:gd name="connsiteY38" fmla="*/ 169936 h 8963200"/>
                <a:gd name="connsiteX39" fmla="*/ 5131526 w 9378278"/>
                <a:gd name="connsiteY39" fmla="*/ 153894 h 8963200"/>
                <a:gd name="connsiteX40" fmla="*/ 5099441 w 9378278"/>
                <a:gd name="connsiteY40" fmla="*/ 121810 h 8963200"/>
                <a:gd name="connsiteX41" fmla="*/ 5019231 w 9378278"/>
                <a:gd name="connsiteY41" fmla="*/ 73683 h 8963200"/>
                <a:gd name="connsiteX42" fmla="*/ 5115484 w 9378278"/>
                <a:gd name="connsiteY42" fmla="*/ 9515 h 8963200"/>
                <a:gd name="connsiteX0" fmla="*/ 5115484 w 9065055"/>
                <a:gd name="connsiteY0" fmla="*/ 9515 h 8963200"/>
                <a:gd name="connsiteX1" fmla="*/ 5115484 w 9065055"/>
                <a:gd name="connsiteY1" fmla="*/ 9515 h 8963200"/>
                <a:gd name="connsiteX2" fmla="*/ 4794641 w 9065055"/>
                <a:gd name="connsiteY2" fmla="*/ 282231 h 8963200"/>
                <a:gd name="connsiteX3" fmla="*/ 3816073 w 9065055"/>
                <a:gd name="connsiteY3" fmla="*/ 1661852 h 8963200"/>
                <a:gd name="connsiteX4" fmla="*/ 3398978 w 9065055"/>
                <a:gd name="connsiteY4" fmla="*/ 2848968 h 8963200"/>
                <a:gd name="connsiteX5" fmla="*/ 2292073 w 9065055"/>
                <a:gd name="connsiteY5" fmla="*/ 4164420 h 8963200"/>
                <a:gd name="connsiteX6" fmla="*/ 2131652 w 9065055"/>
                <a:gd name="connsiteY6" fmla="*/ 4405052 h 8963200"/>
                <a:gd name="connsiteX7" fmla="*/ 2163736 w 9065055"/>
                <a:gd name="connsiteY7" fmla="*/ 5014652 h 8963200"/>
                <a:gd name="connsiteX8" fmla="*/ 1554136 w 9065055"/>
                <a:gd name="connsiteY8" fmla="*/ 5929052 h 8963200"/>
                <a:gd name="connsiteX9" fmla="*/ 1441841 w 9065055"/>
                <a:gd name="connsiteY9" fmla="*/ 7292631 h 8963200"/>
                <a:gd name="connsiteX10" fmla="*/ 1297463 w 9065055"/>
                <a:gd name="connsiteY10" fmla="*/ 7725768 h 8963200"/>
                <a:gd name="connsiteX11" fmla="*/ 816199 w 9065055"/>
                <a:gd name="connsiteY11" fmla="*/ 8463704 h 8963200"/>
                <a:gd name="connsiteX12" fmla="*/ 431189 w 9065055"/>
                <a:gd name="connsiteY12" fmla="*/ 8784547 h 8963200"/>
                <a:gd name="connsiteX13" fmla="*/ 30136 w 9065055"/>
                <a:gd name="connsiteY13" fmla="*/ 8961010 h 8963200"/>
                <a:gd name="connsiteX14" fmla="*/ 1425799 w 9065055"/>
                <a:gd name="connsiteY14" fmla="*/ 8880799 h 8963200"/>
                <a:gd name="connsiteX15" fmla="*/ 1987273 w 9065055"/>
                <a:gd name="connsiteY15" fmla="*/ 8816631 h 8963200"/>
                <a:gd name="connsiteX16" fmla="*/ 2051441 w 9065055"/>
                <a:gd name="connsiteY16" fmla="*/ 8784547 h 8963200"/>
                <a:gd name="connsiteX17" fmla="*/ 3431063 w 9065055"/>
                <a:gd name="connsiteY17" fmla="*/ 8383494 h 8963200"/>
                <a:gd name="connsiteX18" fmla="*/ 5275905 w 9065055"/>
                <a:gd name="connsiteY18" fmla="*/ 8142862 h 8963200"/>
                <a:gd name="connsiteX19" fmla="*/ 8660789 w 9065055"/>
                <a:gd name="connsiteY19" fmla="*/ 8207031 h 8963200"/>
                <a:gd name="connsiteX20" fmla="*/ 8317320 w 9065055"/>
                <a:gd name="connsiteY20" fmla="*/ 7477056 h 8963200"/>
                <a:gd name="connsiteX21" fmla="*/ 9045799 w 9065055"/>
                <a:gd name="connsiteY21" fmla="*/ 7773894 h 8963200"/>
                <a:gd name="connsiteX22" fmla="*/ 8837252 w 9065055"/>
                <a:gd name="connsiteY22" fmla="*/ 6827410 h 8963200"/>
                <a:gd name="connsiteX23" fmla="*/ 8692873 w 9065055"/>
                <a:gd name="connsiteY23" fmla="*/ 6057389 h 8963200"/>
                <a:gd name="connsiteX24" fmla="*/ 8468284 w 9065055"/>
                <a:gd name="connsiteY24" fmla="*/ 5576125 h 8963200"/>
                <a:gd name="connsiteX25" fmla="*/ 8388073 w 9065055"/>
                <a:gd name="connsiteY25" fmla="*/ 3875662 h 8963200"/>
                <a:gd name="connsiteX26" fmla="*/ 8580578 w 9065055"/>
                <a:gd name="connsiteY26" fmla="*/ 3233978 h 8963200"/>
                <a:gd name="connsiteX27" fmla="*/ 8628705 w 9065055"/>
                <a:gd name="connsiteY27" fmla="*/ 2544168 h 8963200"/>
                <a:gd name="connsiteX28" fmla="*/ 8740999 w 9065055"/>
                <a:gd name="connsiteY28" fmla="*/ 1998736 h 8963200"/>
                <a:gd name="connsiteX29" fmla="*/ 8724957 w 9065055"/>
                <a:gd name="connsiteY29" fmla="*/ 747452 h 8963200"/>
                <a:gd name="connsiteX30" fmla="*/ 8757041 w 9065055"/>
                <a:gd name="connsiteY30" fmla="*/ 89725 h 8963200"/>
                <a:gd name="connsiteX31" fmla="*/ 8500368 w 9065055"/>
                <a:gd name="connsiteY31" fmla="*/ 153894 h 8963200"/>
                <a:gd name="connsiteX32" fmla="*/ 7858684 w 9065055"/>
                <a:gd name="connsiteY32" fmla="*/ 185978 h 8963200"/>
                <a:gd name="connsiteX33" fmla="*/ 6799905 w 9065055"/>
                <a:gd name="connsiteY33" fmla="*/ 137852 h 8963200"/>
                <a:gd name="connsiteX34" fmla="*/ 5741126 w 9065055"/>
                <a:gd name="connsiteY34" fmla="*/ 218062 h 8963200"/>
                <a:gd name="connsiteX35" fmla="*/ 5291947 w 9065055"/>
                <a:gd name="connsiteY35" fmla="*/ 105768 h 8963200"/>
                <a:gd name="connsiteX36" fmla="*/ 5553821 w 9065055"/>
                <a:gd name="connsiteY36" fmla="*/ 151032 h 8963200"/>
                <a:gd name="connsiteX37" fmla="*/ 4826726 w 9065055"/>
                <a:gd name="connsiteY37" fmla="*/ 41599 h 8963200"/>
                <a:gd name="connsiteX38" fmla="*/ 5035273 w 9065055"/>
                <a:gd name="connsiteY38" fmla="*/ 169936 h 8963200"/>
                <a:gd name="connsiteX39" fmla="*/ 5131526 w 9065055"/>
                <a:gd name="connsiteY39" fmla="*/ 153894 h 8963200"/>
                <a:gd name="connsiteX40" fmla="*/ 5099441 w 9065055"/>
                <a:gd name="connsiteY40" fmla="*/ 121810 h 8963200"/>
                <a:gd name="connsiteX41" fmla="*/ 5019231 w 9065055"/>
                <a:gd name="connsiteY41" fmla="*/ 73683 h 8963200"/>
                <a:gd name="connsiteX42" fmla="*/ 5115484 w 9065055"/>
                <a:gd name="connsiteY42" fmla="*/ 9515 h 8963200"/>
                <a:gd name="connsiteX0" fmla="*/ 5115484 w 9065055"/>
                <a:gd name="connsiteY0" fmla="*/ 9515 h 8963200"/>
                <a:gd name="connsiteX1" fmla="*/ 5115484 w 9065055"/>
                <a:gd name="connsiteY1" fmla="*/ 9515 h 8963200"/>
                <a:gd name="connsiteX2" fmla="*/ 4794641 w 9065055"/>
                <a:gd name="connsiteY2" fmla="*/ 282231 h 8963200"/>
                <a:gd name="connsiteX3" fmla="*/ 3816073 w 9065055"/>
                <a:gd name="connsiteY3" fmla="*/ 1661852 h 8963200"/>
                <a:gd name="connsiteX4" fmla="*/ 3398978 w 9065055"/>
                <a:gd name="connsiteY4" fmla="*/ 2848968 h 8963200"/>
                <a:gd name="connsiteX5" fmla="*/ 2292073 w 9065055"/>
                <a:gd name="connsiteY5" fmla="*/ 4164420 h 8963200"/>
                <a:gd name="connsiteX6" fmla="*/ 2131652 w 9065055"/>
                <a:gd name="connsiteY6" fmla="*/ 4405052 h 8963200"/>
                <a:gd name="connsiteX7" fmla="*/ 2163736 w 9065055"/>
                <a:gd name="connsiteY7" fmla="*/ 5014652 h 8963200"/>
                <a:gd name="connsiteX8" fmla="*/ 1554136 w 9065055"/>
                <a:gd name="connsiteY8" fmla="*/ 5929052 h 8963200"/>
                <a:gd name="connsiteX9" fmla="*/ 1441841 w 9065055"/>
                <a:gd name="connsiteY9" fmla="*/ 7292631 h 8963200"/>
                <a:gd name="connsiteX10" fmla="*/ 1297463 w 9065055"/>
                <a:gd name="connsiteY10" fmla="*/ 7725768 h 8963200"/>
                <a:gd name="connsiteX11" fmla="*/ 816199 w 9065055"/>
                <a:gd name="connsiteY11" fmla="*/ 8463704 h 8963200"/>
                <a:gd name="connsiteX12" fmla="*/ 431189 w 9065055"/>
                <a:gd name="connsiteY12" fmla="*/ 8784547 h 8963200"/>
                <a:gd name="connsiteX13" fmla="*/ 30136 w 9065055"/>
                <a:gd name="connsiteY13" fmla="*/ 8961010 h 8963200"/>
                <a:gd name="connsiteX14" fmla="*/ 1425799 w 9065055"/>
                <a:gd name="connsiteY14" fmla="*/ 8880799 h 8963200"/>
                <a:gd name="connsiteX15" fmla="*/ 1987273 w 9065055"/>
                <a:gd name="connsiteY15" fmla="*/ 8816631 h 8963200"/>
                <a:gd name="connsiteX16" fmla="*/ 2051441 w 9065055"/>
                <a:gd name="connsiteY16" fmla="*/ 8784547 h 8963200"/>
                <a:gd name="connsiteX17" fmla="*/ 3431063 w 9065055"/>
                <a:gd name="connsiteY17" fmla="*/ 8383494 h 8963200"/>
                <a:gd name="connsiteX18" fmla="*/ 5275905 w 9065055"/>
                <a:gd name="connsiteY18" fmla="*/ 8142862 h 8963200"/>
                <a:gd name="connsiteX19" fmla="*/ 7201398 w 9065055"/>
                <a:gd name="connsiteY19" fmla="*/ 8032504 h 8963200"/>
                <a:gd name="connsiteX20" fmla="*/ 8317320 w 9065055"/>
                <a:gd name="connsiteY20" fmla="*/ 7477056 h 8963200"/>
                <a:gd name="connsiteX21" fmla="*/ 9045799 w 9065055"/>
                <a:gd name="connsiteY21" fmla="*/ 7773894 h 8963200"/>
                <a:gd name="connsiteX22" fmla="*/ 8837252 w 9065055"/>
                <a:gd name="connsiteY22" fmla="*/ 6827410 h 8963200"/>
                <a:gd name="connsiteX23" fmla="*/ 8692873 w 9065055"/>
                <a:gd name="connsiteY23" fmla="*/ 6057389 h 8963200"/>
                <a:gd name="connsiteX24" fmla="*/ 8468284 w 9065055"/>
                <a:gd name="connsiteY24" fmla="*/ 5576125 h 8963200"/>
                <a:gd name="connsiteX25" fmla="*/ 8388073 w 9065055"/>
                <a:gd name="connsiteY25" fmla="*/ 3875662 h 8963200"/>
                <a:gd name="connsiteX26" fmla="*/ 8580578 w 9065055"/>
                <a:gd name="connsiteY26" fmla="*/ 3233978 h 8963200"/>
                <a:gd name="connsiteX27" fmla="*/ 8628705 w 9065055"/>
                <a:gd name="connsiteY27" fmla="*/ 2544168 h 8963200"/>
                <a:gd name="connsiteX28" fmla="*/ 8740999 w 9065055"/>
                <a:gd name="connsiteY28" fmla="*/ 1998736 h 8963200"/>
                <a:gd name="connsiteX29" fmla="*/ 8724957 w 9065055"/>
                <a:gd name="connsiteY29" fmla="*/ 747452 h 8963200"/>
                <a:gd name="connsiteX30" fmla="*/ 8757041 w 9065055"/>
                <a:gd name="connsiteY30" fmla="*/ 89725 h 8963200"/>
                <a:gd name="connsiteX31" fmla="*/ 8500368 w 9065055"/>
                <a:gd name="connsiteY31" fmla="*/ 153894 h 8963200"/>
                <a:gd name="connsiteX32" fmla="*/ 7858684 w 9065055"/>
                <a:gd name="connsiteY32" fmla="*/ 185978 h 8963200"/>
                <a:gd name="connsiteX33" fmla="*/ 6799905 w 9065055"/>
                <a:gd name="connsiteY33" fmla="*/ 137852 h 8963200"/>
                <a:gd name="connsiteX34" fmla="*/ 5741126 w 9065055"/>
                <a:gd name="connsiteY34" fmla="*/ 218062 h 8963200"/>
                <a:gd name="connsiteX35" fmla="*/ 5291947 w 9065055"/>
                <a:gd name="connsiteY35" fmla="*/ 105768 h 8963200"/>
                <a:gd name="connsiteX36" fmla="*/ 5553821 w 9065055"/>
                <a:gd name="connsiteY36" fmla="*/ 151032 h 8963200"/>
                <a:gd name="connsiteX37" fmla="*/ 4826726 w 9065055"/>
                <a:gd name="connsiteY37" fmla="*/ 41599 h 8963200"/>
                <a:gd name="connsiteX38" fmla="*/ 5035273 w 9065055"/>
                <a:gd name="connsiteY38" fmla="*/ 169936 h 8963200"/>
                <a:gd name="connsiteX39" fmla="*/ 5131526 w 9065055"/>
                <a:gd name="connsiteY39" fmla="*/ 153894 h 8963200"/>
                <a:gd name="connsiteX40" fmla="*/ 5099441 w 9065055"/>
                <a:gd name="connsiteY40" fmla="*/ 121810 h 8963200"/>
                <a:gd name="connsiteX41" fmla="*/ 5019231 w 9065055"/>
                <a:gd name="connsiteY41" fmla="*/ 73683 h 8963200"/>
                <a:gd name="connsiteX42" fmla="*/ 5115484 w 9065055"/>
                <a:gd name="connsiteY42" fmla="*/ 9515 h 8963200"/>
                <a:gd name="connsiteX0" fmla="*/ 5115484 w 8874659"/>
                <a:gd name="connsiteY0" fmla="*/ 9515 h 8963200"/>
                <a:gd name="connsiteX1" fmla="*/ 5115484 w 8874659"/>
                <a:gd name="connsiteY1" fmla="*/ 9515 h 8963200"/>
                <a:gd name="connsiteX2" fmla="*/ 4794641 w 8874659"/>
                <a:gd name="connsiteY2" fmla="*/ 282231 h 8963200"/>
                <a:gd name="connsiteX3" fmla="*/ 3816073 w 8874659"/>
                <a:gd name="connsiteY3" fmla="*/ 1661852 h 8963200"/>
                <a:gd name="connsiteX4" fmla="*/ 3398978 w 8874659"/>
                <a:gd name="connsiteY4" fmla="*/ 2848968 h 8963200"/>
                <a:gd name="connsiteX5" fmla="*/ 2292073 w 8874659"/>
                <a:gd name="connsiteY5" fmla="*/ 4164420 h 8963200"/>
                <a:gd name="connsiteX6" fmla="*/ 2131652 w 8874659"/>
                <a:gd name="connsiteY6" fmla="*/ 4405052 h 8963200"/>
                <a:gd name="connsiteX7" fmla="*/ 2163736 w 8874659"/>
                <a:gd name="connsiteY7" fmla="*/ 5014652 h 8963200"/>
                <a:gd name="connsiteX8" fmla="*/ 1554136 w 8874659"/>
                <a:gd name="connsiteY8" fmla="*/ 5929052 h 8963200"/>
                <a:gd name="connsiteX9" fmla="*/ 1441841 w 8874659"/>
                <a:gd name="connsiteY9" fmla="*/ 7292631 h 8963200"/>
                <a:gd name="connsiteX10" fmla="*/ 1297463 w 8874659"/>
                <a:gd name="connsiteY10" fmla="*/ 7725768 h 8963200"/>
                <a:gd name="connsiteX11" fmla="*/ 816199 w 8874659"/>
                <a:gd name="connsiteY11" fmla="*/ 8463704 h 8963200"/>
                <a:gd name="connsiteX12" fmla="*/ 431189 w 8874659"/>
                <a:gd name="connsiteY12" fmla="*/ 8784547 h 8963200"/>
                <a:gd name="connsiteX13" fmla="*/ 30136 w 8874659"/>
                <a:gd name="connsiteY13" fmla="*/ 8961010 h 8963200"/>
                <a:gd name="connsiteX14" fmla="*/ 1425799 w 8874659"/>
                <a:gd name="connsiteY14" fmla="*/ 8880799 h 8963200"/>
                <a:gd name="connsiteX15" fmla="*/ 1987273 w 8874659"/>
                <a:gd name="connsiteY15" fmla="*/ 8816631 h 8963200"/>
                <a:gd name="connsiteX16" fmla="*/ 2051441 w 8874659"/>
                <a:gd name="connsiteY16" fmla="*/ 8784547 h 8963200"/>
                <a:gd name="connsiteX17" fmla="*/ 3431063 w 8874659"/>
                <a:gd name="connsiteY17" fmla="*/ 8383494 h 8963200"/>
                <a:gd name="connsiteX18" fmla="*/ 5275905 w 8874659"/>
                <a:gd name="connsiteY18" fmla="*/ 8142862 h 8963200"/>
                <a:gd name="connsiteX19" fmla="*/ 7201398 w 8874659"/>
                <a:gd name="connsiteY19" fmla="*/ 8032504 h 8963200"/>
                <a:gd name="connsiteX20" fmla="*/ 8317320 w 8874659"/>
                <a:gd name="connsiteY20" fmla="*/ 7477056 h 8963200"/>
                <a:gd name="connsiteX21" fmla="*/ 7992146 w 8874659"/>
                <a:gd name="connsiteY21" fmla="*/ 6417583 h 8963200"/>
                <a:gd name="connsiteX22" fmla="*/ 8837252 w 8874659"/>
                <a:gd name="connsiteY22" fmla="*/ 6827410 h 8963200"/>
                <a:gd name="connsiteX23" fmla="*/ 8692873 w 8874659"/>
                <a:gd name="connsiteY23" fmla="*/ 6057389 h 8963200"/>
                <a:gd name="connsiteX24" fmla="*/ 8468284 w 8874659"/>
                <a:gd name="connsiteY24" fmla="*/ 5576125 h 8963200"/>
                <a:gd name="connsiteX25" fmla="*/ 8388073 w 8874659"/>
                <a:gd name="connsiteY25" fmla="*/ 3875662 h 8963200"/>
                <a:gd name="connsiteX26" fmla="*/ 8580578 w 8874659"/>
                <a:gd name="connsiteY26" fmla="*/ 3233978 h 8963200"/>
                <a:gd name="connsiteX27" fmla="*/ 8628705 w 8874659"/>
                <a:gd name="connsiteY27" fmla="*/ 2544168 h 8963200"/>
                <a:gd name="connsiteX28" fmla="*/ 8740999 w 8874659"/>
                <a:gd name="connsiteY28" fmla="*/ 1998736 h 8963200"/>
                <a:gd name="connsiteX29" fmla="*/ 8724957 w 8874659"/>
                <a:gd name="connsiteY29" fmla="*/ 747452 h 8963200"/>
                <a:gd name="connsiteX30" fmla="*/ 8757041 w 8874659"/>
                <a:gd name="connsiteY30" fmla="*/ 89725 h 8963200"/>
                <a:gd name="connsiteX31" fmla="*/ 8500368 w 8874659"/>
                <a:gd name="connsiteY31" fmla="*/ 153894 h 8963200"/>
                <a:gd name="connsiteX32" fmla="*/ 7858684 w 8874659"/>
                <a:gd name="connsiteY32" fmla="*/ 185978 h 8963200"/>
                <a:gd name="connsiteX33" fmla="*/ 6799905 w 8874659"/>
                <a:gd name="connsiteY33" fmla="*/ 137852 h 8963200"/>
                <a:gd name="connsiteX34" fmla="*/ 5741126 w 8874659"/>
                <a:gd name="connsiteY34" fmla="*/ 218062 h 8963200"/>
                <a:gd name="connsiteX35" fmla="*/ 5291947 w 8874659"/>
                <a:gd name="connsiteY35" fmla="*/ 105768 h 8963200"/>
                <a:gd name="connsiteX36" fmla="*/ 5553821 w 8874659"/>
                <a:gd name="connsiteY36" fmla="*/ 151032 h 8963200"/>
                <a:gd name="connsiteX37" fmla="*/ 4826726 w 8874659"/>
                <a:gd name="connsiteY37" fmla="*/ 41599 h 8963200"/>
                <a:gd name="connsiteX38" fmla="*/ 5035273 w 8874659"/>
                <a:gd name="connsiteY38" fmla="*/ 169936 h 8963200"/>
                <a:gd name="connsiteX39" fmla="*/ 5131526 w 8874659"/>
                <a:gd name="connsiteY39" fmla="*/ 153894 h 8963200"/>
                <a:gd name="connsiteX40" fmla="*/ 5099441 w 8874659"/>
                <a:gd name="connsiteY40" fmla="*/ 121810 h 8963200"/>
                <a:gd name="connsiteX41" fmla="*/ 5019231 w 8874659"/>
                <a:gd name="connsiteY41" fmla="*/ 73683 h 8963200"/>
                <a:gd name="connsiteX42" fmla="*/ 5115484 w 8874659"/>
                <a:gd name="connsiteY42" fmla="*/ 9515 h 8963200"/>
                <a:gd name="connsiteX0" fmla="*/ 5115484 w 8874659"/>
                <a:gd name="connsiteY0" fmla="*/ 9515 h 8963200"/>
                <a:gd name="connsiteX1" fmla="*/ 5115484 w 8874659"/>
                <a:gd name="connsiteY1" fmla="*/ 9515 h 8963200"/>
                <a:gd name="connsiteX2" fmla="*/ 4794641 w 8874659"/>
                <a:gd name="connsiteY2" fmla="*/ 282231 h 8963200"/>
                <a:gd name="connsiteX3" fmla="*/ 3816073 w 8874659"/>
                <a:gd name="connsiteY3" fmla="*/ 1661852 h 8963200"/>
                <a:gd name="connsiteX4" fmla="*/ 3398978 w 8874659"/>
                <a:gd name="connsiteY4" fmla="*/ 2848968 h 8963200"/>
                <a:gd name="connsiteX5" fmla="*/ 2292073 w 8874659"/>
                <a:gd name="connsiteY5" fmla="*/ 4164420 h 8963200"/>
                <a:gd name="connsiteX6" fmla="*/ 2131652 w 8874659"/>
                <a:gd name="connsiteY6" fmla="*/ 4405052 h 8963200"/>
                <a:gd name="connsiteX7" fmla="*/ 2163736 w 8874659"/>
                <a:gd name="connsiteY7" fmla="*/ 5014652 h 8963200"/>
                <a:gd name="connsiteX8" fmla="*/ 1554136 w 8874659"/>
                <a:gd name="connsiteY8" fmla="*/ 5929052 h 8963200"/>
                <a:gd name="connsiteX9" fmla="*/ 1441841 w 8874659"/>
                <a:gd name="connsiteY9" fmla="*/ 7292631 h 8963200"/>
                <a:gd name="connsiteX10" fmla="*/ 1297463 w 8874659"/>
                <a:gd name="connsiteY10" fmla="*/ 7725768 h 8963200"/>
                <a:gd name="connsiteX11" fmla="*/ 816199 w 8874659"/>
                <a:gd name="connsiteY11" fmla="*/ 8463704 h 8963200"/>
                <a:gd name="connsiteX12" fmla="*/ 431189 w 8874659"/>
                <a:gd name="connsiteY12" fmla="*/ 8784547 h 8963200"/>
                <a:gd name="connsiteX13" fmla="*/ 30136 w 8874659"/>
                <a:gd name="connsiteY13" fmla="*/ 8961010 h 8963200"/>
                <a:gd name="connsiteX14" fmla="*/ 1425799 w 8874659"/>
                <a:gd name="connsiteY14" fmla="*/ 8880799 h 8963200"/>
                <a:gd name="connsiteX15" fmla="*/ 1987273 w 8874659"/>
                <a:gd name="connsiteY15" fmla="*/ 8816631 h 8963200"/>
                <a:gd name="connsiteX16" fmla="*/ 2051441 w 8874659"/>
                <a:gd name="connsiteY16" fmla="*/ 8784547 h 8963200"/>
                <a:gd name="connsiteX17" fmla="*/ 3431063 w 8874659"/>
                <a:gd name="connsiteY17" fmla="*/ 8383494 h 8963200"/>
                <a:gd name="connsiteX18" fmla="*/ 5275905 w 8874659"/>
                <a:gd name="connsiteY18" fmla="*/ 8142862 h 8963200"/>
                <a:gd name="connsiteX19" fmla="*/ 7201398 w 8874659"/>
                <a:gd name="connsiteY19" fmla="*/ 8032504 h 8963200"/>
                <a:gd name="connsiteX20" fmla="*/ 7662966 w 8874659"/>
                <a:gd name="connsiteY20" fmla="*/ 7318679 h 8963200"/>
                <a:gd name="connsiteX21" fmla="*/ 7992146 w 8874659"/>
                <a:gd name="connsiteY21" fmla="*/ 6417583 h 8963200"/>
                <a:gd name="connsiteX22" fmla="*/ 8837252 w 8874659"/>
                <a:gd name="connsiteY22" fmla="*/ 6827410 h 8963200"/>
                <a:gd name="connsiteX23" fmla="*/ 8692873 w 8874659"/>
                <a:gd name="connsiteY23" fmla="*/ 6057389 h 8963200"/>
                <a:gd name="connsiteX24" fmla="*/ 8468284 w 8874659"/>
                <a:gd name="connsiteY24" fmla="*/ 5576125 h 8963200"/>
                <a:gd name="connsiteX25" fmla="*/ 8388073 w 8874659"/>
                <a:gd name="connsiteY25" fmla="*/ 3875662 h 8963200"/>
                <a:gd name="connsiteX26" fmla="*/ 8580578 w 8874659"/>
                <a:gd name="connsiteY26" fmla="*/ 3233978 h 8963200"/>
                <a:gd name="connsiteX27" fmla="*/ 8628705 w 8874659"/>
                <a:gd name="connsiteY27" fmla="*/ 2544168 h 8963200"/>
                <a:gd name="connsiteX28" fmla="*/ 8740999 w 8874659"/>
                <a:gd name="connsiteY28" fmla="*/ 1998736 h 8963200"/>
                <a:gd name="connsiteX29" fmla="*/ 8724957 w 8874659"/>
                <a:gd name="connsiteY29" fmla="*/ 747452 h 8963200"/>
                <a:gd name="connsiteX30" fmla="*/ 8757041 w 8874659"/>
                <a:gd name="connsiteY30" fmla="*/ 89725 h 8963200"/>
                <a:gd name="connsiteX31" fmla="*/ 8500368 w 8874659"/>
                <a:gd name="connsiteY31" fmla="*/ 153894 h 8963200"/>
                <a:gd name="connsiteX32" fmla="*/ 7858684 w 8874659"/>
                <a:gd name="connsiteY32" fmla="*/ 185978 h 8963200"/>
                <a:gd name="connsiteX33" fmla="*/ 6799905 w 8874659"/>
                <a:gd name="connsiteY33" fmla="*/ 137852 h 8963200"/>
                <a:gd name="connsiteX34" fmla="*/ 5741126 w 8874659"/>
                <a:gd name="connsiteY34" fmla="*/ 218062 h 8963200"/>
                <a:gd name="connsiteX35" fmla="*/ 5291947 w 8874659"/>
                <a:gd name="connsiteY35" fmla="*/ 105768 h 8963200"/>
                <a:gd name="connsiteX36" fmla="*/ 5553821 w 8874659"/>
                <a:gd name="connsiteY36" fmla="*/ 151032 h 8963200"/>
                <a:gd name="connsiteX37" fmla="*/ 4826726 w 8874659"/>
                <a:gd name="connsiteY37" fmla="*/ 41599 h 8963200"/>
                <a:gd name="connsiteX38" fmla="*/ 5035273 w 8874659"/>
                <a:gd name="connsiteY38" fmla="*/ 169936 h 8963200"/>
                <a:gd name="connsiteX39" fmla="*/ 5131526 w 8874659"/>
                <a:gd name="connsiteY39" fmla="*/ 153894 h 8963200"/>
                <a:gd name="connsiteX40" fmla="*/ 5099441 w 8874659"/>
                <a:gd name="connsiteY40" fmla="*/ 121810 h 8963200"/>
                <a:gd name="connsiteX41" fmla="*/ 5019231 w 8874659"/>
                <a:gd name="connsiteY41" fmla="*/ 73683 h 8963200"/>
                <a:gd name="connsiteX42" fmla="*/ 5115484 w 8874659"/>
                <a:gd name="connsiteY42" fmla="*/ 9515 h 8963200"/>
                <a:gd name="connsiteX0" fmla="*/ 5115484 w 8786542"/>
                <a:gd name="connsiteY0" fmla="*/ 9515 h 8963200"/>
                <a:gd name="connsiteX1" fmla="*/ 5115484 w 8786542"/>
                <a:gd name="connsiteY1" fmla="*/ 9515 h 8963200"/>
                <a:gd name="connsiteX2" fmla="*/ 4794641 w 8786542"/>
                <a:gd name="connsiteY2" fmla="*/ 282231 h 8963200"/>
                <a:gd name="connsiteX3" fmla="*/ 3816073 w 8786542"/>
                <a:gd name="connsiteY3" fmla="*/ 1661852 h 8963200"/>
                <a:gd name="connsiteX4" fmla="*/ 3398978 w 8786542"/>
                <a:gd name="connsiteY4" fmla="*/ 2848968 h 8963200"/>
                <a:gd name="connsiteX5" fmla="*/ 2292073 w 8786542"/>
                <a:gd name="connsiteY5" fmla="*/ 4164420 h 8963200"/>
                <a:gd name="connsiteX6" fmla="*/ 2131652 w 8786542"/>
                <a:gd name="connsiteY6" fmla="*/ 4405052 h 8963200"/>
                <a:gd name="connsiteX7" fmla="*/ 2163736 w 8786542"/>
                <a:gd name="connsiteY7" fmla="*/ 5014652 h 8963200"/>
                <a:gd name="connsiteX8" fmla="*/ 1554136 w 8786542"/>
                <a:gd name="connsiteY8" fmla="*/ 5929052 h 8963200"/>
                <a:gd name="connsiteX9" fmla="*/ 1441841 w 8786542"/>
                <a:gd name="connsiteY9" fmla="*/ 7292631 h 8963200"/>
                <a:gd name="connsiteX10" fmla="*/ 1297463 w 8786542"/>
                <a:gd name="connsiteY10" fmla="*/ 7725768 h 8963200"/>
                <a:gd name="connsiteX11" fmla="*/ 816199 w 8786542"/>
                <a:gd name="connsiteY11" fmla="*/ 8463704 h 8963200"/>
                <a:gd name="connsiteX12" fmla="*/ 431189 w 8786542"/>
                <a:gd name="connsiteY12" fmla="*/ 8784547 h 8963200"/>
                <a:gd name="connsiteX13" fmla="*/ 30136 w 8786542"/>
                <a:gd name="connsiteY13" fmla="*/ 8961010 h 8963200"/>
                <a:gd name="connsiteX14" fmla="*/ 1425799 w 8786542"/>
                <a:gd name="connsiteY14" fmla="*/ 8880799 h 8963200"/>
                <a:gd name="connsiteX15" fmla="*/ 1987273 w 8786542"/>
                <a:gd name="connsiteY15" fmla="*/ 8816631 h 8963200"/>
                <a:gd name="connsiteX16" fmla="*/ 2051441 w 8786542"/>
                <a:gd name="connsiteY16" fmla="*/ 8784547 h 8963200"/>
                <a:gd name="connsiteX17" fmla="*/ 3431063 w 8786542"/>
                <a:gd name="connsiteY17" fmla="*/ 8383494 h 8963200"/>
                <a:gd name="connsiteX18" fmla="*/ 5275905 w 8786542"/>
                <a:gd name="connsiteY18" fmla="*/ 8142862 h 8963200"/>
                <a:gd name="connsiteX19" fmla="*/ 7201398 w 8786542"/>
                <a:gd name="connsiteY19" fmla="*/ 8032504 h 8963200"/>
                <a:gd name="connsiteX20" fmla="*/ 7662966 w 8786542"/>
                <a:gd name="connsiteY20" fmla="*/ 7318679 h 8963200"/>
                <a:gd name="connsiteX21" fmla="*/ 7992146 w 8786542"/>
                <a:gd name="connsiteY21" fmla="*/ 6417583 h 8963200"/>
                <a:gd name="connsiteX22" fmla="*/ 8015283 w 8786542"/>
                <a:gd name="connsiteY22" fmla="*/ 5844011 h 8963200"/>
                <a:gd name="connsiteX23" fmla="*/ 8692873 w 8786542"/>
                <a:gd name="connsiteY23" fmla="*/ 6057389 h 8963200"/>
                <a:gd name="connsiteX24" fmla="*/ 8468284 w 8786542"/>
                <a:gd name="connsiteY24" fmla="*/ 5576125 h 8963200"/>
                <a:gd name="connsiteX25" fmla="*/ 8388073 w 8786542"/>
                <a:gd name="connsiteY25" fmla="*/ 3875662 h 8963200"/>
                <a:gd name="connsiteX26" fmla="*/ 8580578 w 8786542"/>
                <a:gd name="connsiteY26" fmla="*/ 3233978 h 8963200"/>
                <a:gd name="connsiteX27" fmla="*/ 8628705 w 8786542"/>
                <a:gd name="connsiteY27" fmla="*/ 2544168 h 8963200"/>
                <a:gd name="connsiteX28" fmla="*/ 8740999 w 8786542"/>
                <a:gd name="connsiteY28" fmla="*/ 1998736 h 8963200"/>
                <a:gd name="connsiteX29" fmla="*/ 8724957 w 8786542"/>
                <a:gd name="connsiteY29" fmla="*/ 747452 h 8963200"/>
                <a:gd name="connsiteX30" fmla="*/ 8757041 w 8786542"/>
                <a:gd name="connsiteY30" fmla="*/ 89725 h 8963200"/>
                <a:gd name="connsiteX31" fmla="*/ 8500368 w 8786542"/>
                <a:gd name="connsiteY31" fmla="*/ 153894 h 8963200"/>
                <a:gd name="connsiteX32" fmla="*/ 7858684 w 8786542"/>
                <a:gd name="connsiteY32" fmla="*/ 185978 h 8963200"/>
                <a:gd name="connsiteX33" fmla="*/ 6799905 w 8786542"/>
                <a:gd name="connsiteY33" fmla="*/ 137852 h 8963200"/>
                <a:gd name="connsiteX34" fmla="*/ 5741126 w 8786542"/>
                <a:gd name="connsiteY34" fmla="*/ 218062 h 8963200"/>
                <a:gd name="connsiteX35" fmla="*/ 5291947 w 8786542"/>
                <a:gd name="connsiteY35" fmla="*/ 105768 h 8963200"/>
                <a:gd name="connsiteX36" fmla="*/ 5553821 w 8786542"/>
                <a:gd name="connsiteY36" fmla="*/ 151032 h 8963200"/>
                <a:gd name="connsiteX37" fmla="*/ 4826726 w 8786542"/>
                <a:gd name="connsiteY37" fmla="*/ 41599 h 8963200"/>
                <a:gd name="connsiteX38" fmla="*/ 5035273 w 8786542"/>
                <a:gd name="connsiteY38" fmla="*/ 169936 h 8963200"/>
                <a:gd name="connsiteX39" fmla="*/ 5131526 w 8786542"/>
                <a:gd name="connsiteY39" fmla="*/ 153894 h 8963200"/>
                <a:gd name="connsiteX40" fmla="*/ 5099441 w 8786542"/>
                <a:gd name="connsiteY40" fmla="*/ 121810 h 8963200"/>
                <a:gd name="connsiteX41" fmla="*/ 5019231 w 8786542"/>
                <a:gd name="connsiteY41" fmla="*/ 73683 h 8963200"/>
                <a:gd name="connsiteX42" fmla="*/ 5115484 w 8786542"/>
                <a:gd name="connsiteY42" fmla="*/ 9515 h 8963200"/>
                <a:gd name="connsiteX0" fmla="*/ 5115484 w 8786542"/>
                <a:gd name="connsiteY0" fmla="*/ 9515 h 8963200"/>
                <a:gd name="connsiteX1" fmla="*/ 5115484 w 8786542"/>
                <a:gd name="connsiteY1" fmla="*/ 9515 h 8963200"/>
                <a:gd name="connsiteX2" fmla="*/ 4794641 w 8786542"/>
                <a:gd name="connsiteY2" fmla="*/ 282231 h 8963200"/>
                <a:gd name="connsiteX3" fmla="*/ 3816073 w 8786542"/>
                <a:gd name="connsiteY3" fmla="*/ 1661852 h 8963200"/>
                <a:gd name="connsiteX4" fmla="*/ 3398978 w 8786542"/>
                <a:gd name="connsiteY4" fmla="*/ 2848968 h 8963200"/>
                <a:gd name="connsiteX5" fmla="*/ 2292073 w 8786542"/>
                <a:gd name="connsiteY5" fmla="*/ 4164420 h 8963200"/>
                <a:gd name="connsiteX6" fmla="*/ 2131652 w 8786542"/>
                <a:gd name="connsiteY6" fmla="*/ 4405052 h 8963200"/>
                <a:gd name="connsiteX7" fmla="*/ 2163736 w 8786542"/>
                <a:gd name="connsiteY7" fmla="*/ 5014652 h 8963200"/>
                <a:gd name="connsiteX8" fmla="*/ 1554136 w 8786542"/>
                <a:gd name="connsiteY8" fmla="*/ 5929052 h 8963200"/>
                <a:gd name="connsiteX9" fmla="*/ 1441841 w 8786542"/>
                <a:gd name="connsiteY9" fmla="*/ 7292631 h 8963200"/>
                <a:gd name="connsiteX10" fmla="*/ 1297463 w 8786542"/>
                <a:gd name="connsiteY10" fmla="*/ 7725768 h 8963200"/>
                <a:gd name="connsiteX11" fmla="*/ 816199 w 8786542"/>
                <a:gd name="connsiteY11" fmla="*/ 8463704 h 8963200"/>
                <a:gd name="connsiteX12" fmla="*/ 431189 w 8786542"/>
                <a:gd name="connsiteY12" fmla="*/ 8784547 h 8963200"/>
                <a:gd name="connsiteX13" fmla="*/ 30136 w 8786542"/>
                <a:gd name="connsiteY13" fmla="*/ 8961010 h 8963200"/>
                <a:gd name="connsiteX14" fmla="*/ 1425799 w 8786542"/>
                <a:gd name="connsiteY14" fmla="*/ 8880799 h 8963200"/>
                <a:gd name="connsiteX15" fmla="*/ 1987273 w 8786542"/>
                <a:gd name="connsiteY15" fmla="*/ 8816631 h 8963200"/>
                <a:gd name="connsiteX16" fmla="*/ 2051441 w 8786542"/>
                <a:gd name="connsiteY16" fmla="*/ 8784547 h 8963200"/>
                <a:gd name="connsiteX17" fmla="*/ 3431063 w 8786542"/>
                <a:gd name="connsiteY17" fmla="*/ 8383494 h 8963200"/>
                <a:gd name="connsiteX18" fmla="*/ 5275905 w 8786542"/>
                <a:gd name="connsiteY18" fmla="*/ 8142862 h 8963200"/>
                <a:gd name="connsiteX19" fmla="*/ 7201398 w 8786542"/>
                <a:gd name="connsiteY19" fmla="*/ 8032504 h 8963200"/>
                <a:gd name="connsiteX20" fmla="*/ 7662966 w 8786542"/>
                <a:gd name="connsiteY20" fmla="*/ 7318679 h 8963200"/>
                <a:gd name="connsiteX21" fmla="*/ 7992146 w 8786542"/>
                <a:gd name="connsiteY21" fmla="*/ 6417583 h 8963200"/>
                <a:gd name="connsiteX22" fmla="*/ 8015283 w 8786542"/>
                <a:gd name="connsiteY22" fmla="*/ 5844011 h 8963200"/>
                <a:gd name="connsiteX23" fmla="*/ 8057623 w 8786542"/>
                <a:gd name="connsiteY23" fmla="*/ 5505921 h 8963200"/>
                <a:gd name="connsiteX24" fmla="*/ 8468284 w 8786542"/>
                <a:gd name="connsiteY24" fmla="*/ 5576125 h 8963200"/>
                <a:gd name="connsiteX25" fmla="*/ 8388073 w 8786542"/>
                <a:gd name="connsiteY25" fmla="*/ 3875662 h 8963200"/>
                <a:gd name="connsiteX26" fmla="*/ 8580578 w 8786542"/>
                <a:gd name="connsiteY26" fmla="*/ 3233978 h 8963200"/>
                <a:gd name="connsiteX27" fmla="*/ 8628705 w 8786542"/>
                <a:gd name="connsiteY27" fmla="*/ 2544168 h 8963200"/>
                <a:gd name="connsiteX28" fmla="*/ 8740999 w 8786542"/>
                <a:gd name="connsiteY28" fmla="*/ 1998736 h 8963200"/>
                <a:gd name="connsiteX29" fmla="*/ 8724957 w 8786542"/>
                <a:gd name="connsiteY29" fmla="*/ 747452 h 8963200"/>
                <a:gd name="connsiteX30" fmla="*/ 8757041 w 8786542"/>
                <a:gd name="connsiteY30" fmla="*/ 89725 h 8963200"/>
                <a:gd name="connsiteX31" fmla="*/ 8500368 w 8786542"/>
                <a:gd name="connsiteY31" fmla="*/ 153894 h 8963200"/>
                <a:gd name="connsiteX32" fmla="*/ 7858684 w 8786542"/>
                <a:gd name="connsiteY32" fmla="*/ 185978 h 8963200"/>
                <a:gd name="connsiteX33" fmla="*/ 6799905 w 8786542"/>
                <a:gd name="connsiteY33" fmla="*/ 137852 h 8963200"/>
                <a:gd name="connsiteX34" fmla="*/ 5741126 w 8786542"/>
                <a:gd name="connsiteY34" fmla="*/ 218062 h 8963200"/>
                <a:gd name="connsiteX35" fmla="*/ 5291947 w 8786542"/>
                <a:gd name="connsiteY35" fmla="*/ 105768 h 8963200"/>
                <a:gd name="connsiteX36" fmla="*/ 5553821 w 8786542"/>
                <a:gd name="connsiteY36" fmla="*/ 151032 h 8963200"/>
                <a:gd name="connsiteX37" fmla="*/ 4826726 w 8786542"/>
                <a:gd name="connsiteY37" fmla="*/ 41599 h 8963200"/>
                <a:gd name="connsiteX38" fmla="*/ 5035273 w 8786542"/>
                <a:gd name="connsiteY38" fmla="*/ 169936 h 8963200"/>
                <a:gd name="connsiteX39" fmla="*/ 5131526 w 8786542"/>
                <a:gd name="connsiteY39" fmla="*/ 153894 h 8963200"/>
                <a:gd name="connsiteX40" fmla="*/ 5099441 w 8786542"/>
                <a:gd name="connsiteY40" fmla="*/ 121810 h 8963200"/>
                <a:gd name="connsiteX41" fmla="*/ 5019231 w 8786542"/>
                <a:gd name="connsiteY41" fmla="*/ 73683 h 8963200"/>
                <a:gd name="connsiteX42" fmla="*/ 5115484 w 8786542"/>
                <a:gd name="connsiteY42" fmla="*/ 9515 h 8963200"/>
                <a:gd name="connsiteX0" fmla="*/ 5115484 w 8786542"/>
                <a:gd name="connsiteY0" fmla="*/ 9515 h 8963200"/>
                <a:gd name="connsiteX1" fmla="*/ 5115484 w 8786542"/>
                <a:gd name="connsiteY1" fmla="*/ 9515 h 8963200"/>
                <a:gd name="connsiteX2" fmla="*/ 4794641 w 8786542"/>
                <a:gd name="connsiteY2" fmla="*/ 282231 h 8963200"/>
                <a:gd name="connsiteX3" fmla="*/ 3816073 w 8786542"/>
                <a:gd name="connsiteY3" fmla="*/ 1661852 h 8963200"/>
                <a:gd name="connsiteX4" fmla="*/ 3398978 w 8786542"/>
                <a:gd name="connsiteY4" fmla="*/ 2848968 h 8963200"/>
                <a:gd name="connsiteX5" fmla="*/ 2292073 w 8786542"/>
                <a:gd name="connsiteY5" fmla="*/ 4164420 h 8963200"/>
                <a:gd name="connsiteX6" fmla="*/ 2131652 w 8786542"/>
                <a:gd name="connsiteY6" fmla="*/ 4405052 h 8963200"/>
                <a:gd name="connsiteX7" fmla="*/ 2163736 w 8786542"/>
                <a:gd name="connsiteY7" fmla="*/ 5014652 h 8963200"/>
                <a:gd name="connsiteX8" fmla="*/ 1554136 w 8786542"/>
                <a:gd name="connsiteY8" fmla="*/ 5929052 h 8963200"/>
                <a:gd name="connsiteX9" fmla="*/ 1441841 w 8786542"/>
                <a:gd name="connsiteY9" fmla="*/ 7292631 h 8963200"/>
                <a:gd name="connsiteX10" fmla="*/ 1297463 w 8786542"/>
                <a:gd name="connsiteY10" fmla="*/ 7725768 h 8963200"/>
                <a:gd name="connsiteX11" fmla="*/ 816199 w 8786542"/>
                <a:gd name="connsiteY11" fmla="*/ 8463704 h 8963200"/>
                <a:gd name="connsiteX12" fmla="*/ 431189 w 8786542"/>
                <a:gd name="connsiteY12" fmla="*/ 8784547 h 8963200"/>
                <a:gd name="connsiteX13" fmla="*/ 30136 w 8786542"/>
                <a:gd name="connsiteY13" fmla="*/ 8961010 h 8963200"/>
                <a:gd name="connsiteX14" fmla="*/ 1425799 w 8786542"/>
                <a:gd name="connsiteY14" fmla="*/ 8880799 h 8963200"/>
                <a:gd name="connsiteX15" fmla="*/ 1987273 w 8786542"/>
                <a:gd name="connsiteY15" fmla="*/ 8816631 h 8963200"/>
                <a:gd name="connsiteX16" fmla="*/ 2051441 w 8786542"/>
                <a:gd name="connsiteY16" fmla="*/ 8784547 h 8963200"/>
                <a:gd name="connsiteX17" fmla="*/ 3431063 w 8786542"/>
                <a:gd name="connsiteY17" fmla="*/ 8383494 h 8963200"/>
                <a:gd name="connsiteX18" fmla="*/ 5275905 w 8786542"/>
                <a:gd name="connsiteY18" fmla="*/ 8142862 h 8963200"/>
                <a:gd name="connsiteX19" fmla="*/ 7201398 w 8786542"/>
                <a:gd name="connsiteY19" fmla="*/ 8032504 h 8963200"/>
                <a:gd name="connsiteX20" fmla="*/ 7662966 w 8786542"/>
                <a:gd name="connsiteY20" fmla="*/ 7318679 h 8963200"/>
                <a:gd name="connsiteX21" fmla="*/ 7992146 w 8786542"/>
                <a:gd name="connsiteY21" fmla="*/ 6417583 h 8963200"/>
                <a:gd name="connsiteX22" fmla="*/ 8015283 w 8786542"/>
                <a:gd name="connsiteY22" fmla="*/ 5844011 h 8963200"/>
                <a:gd name="connsiteX23" fmla="*/ 8057623 w 8786542"/>
                <a:gd name="connsiteY23" fmla="*/ 5505921 h 8963200"/>
                <a:gd name="connsiteX24" fmla="*/ 8057206 w 8786542"/>
                <a:gd name="connsiteY24" fmla="*/ 5143572 h 8963200"/>
                <a:gd name="connsiteX25" fmla="*/ 8388073 w 8786542"/>
                <a:gd name="connsiteY25" fmla="*/ 3875662 h 8963200"/>
                <a:gd name="connsiteX26" fmla="*/ 8580578 w 8786542"/>
                <a:gd name="connsiteY26" fmla="*/ 3233978 h 8963200"/>
                <a:gd name="connsiteX27" fmla="*/ 8628705 w 8786542"/>
                <a:gd name="connsiteY27" fmla="*/ 2544168 h 8963200"/>
                <a:gd name="connsiteX28" fmla="*/ 8740999 w 8786542"/>
                <a:gd name="connsiteY28" fmla="*/ 1998736 h 8963200"/>
                <a:gd name="connsiteX29" fmla="*/ 8724957 w 8786542"/>
                <a:gd name="connsiteY29" fmla="*/ 747452 h 8963200"/>
                <a:gd name="connsiteX30" fmla="*/ 8757041 w 8786542"/>
                <a:gd name="connsiteY30" fmla="*/ 89725 h 8963200"/>
                <a:gd name="connsiteX31" fmla="*/ 8500368 w 8786542"/>
                <a:gd name="connsiteY31" fmla="*/ 153894 h 8963200"/>
                <a:gd name="connsiteX32" fmla="*/ 7858684 w 8786542"/>
                <a:gd name="connsiteY32" fmla="*/ 185978 h 8963200"/>
                <a:gd name="connsiteX33" fmla="*/ 6799905 w 8786542"/>
                <a:gd name="connsiteY33" fmla="*/ 137852 h 8963200"/>
                <a:gd name="connsiteX34" fmla="*/ 5741126 w 8786542"/>
                <a:gd name="connsiteY34" fmla="*/ 218062 h 8963200"/>
                <a:gd name="connsiteX35" fmla="*/ 5291947 w 8786542"/>
                <a:gd name="connsiteY35" fmla="*/ 105768 h 8963200"/>
                <a:gd name="connsiteX36" fmla="*/ 5553821 w 8786542"/>
                <a:gd name="connsiteY36" fmla="*/ 151032 h 8963200"/>
                <a:gd name="connsiteX37" fmla="*/ 4826726 w 8786542"/>
                <a:gd name="connsiteY37" fmla="*/ 41599 h 8963200"/>
                <a:gd name="connsiteX38" fmla="*/ 5035273 w 8786542"/>
                <a:gd name="connsiteY38" fmla="*/ 169936 h 8963200"/>
                <a:gd name="connsiteX39" fmla="*/ 5131526 w 8786542"/>
                <a:gd name="connsiteY39" fmla="*/ 153894 h 8963200"/>
                <a:gd name="connsiteX40" fmla="*/ 5099441 w 8786542"/>
                <a:gd name="connsiteY40" fmla="*/ 121810 h 8963200"/>
                <a:gd name="connsiteX41" fmla="*/ 5019231 w 8786542"/>
                <a:gd name="connsiteY41" fmla="*/ 73683 h 8963200"/>
                <a:gd name="connsiteX42" fmla="*/ 5115484 w 8786542"/>
                <a:gd name="connsiteY42" fmla="*/ 9515 h 8963200"/>
                <a:gd name="connsiteX0" fmla="*/ 5115484 w 8786542"/>
                <a:gd name="connsiteY0" fmla="*/ 9515 h 8963200"/>
                <a:gd name="connsiteX1" fmla="*/ 5115484 w 8786542"/>
                <a:gd name="connsiteY1" fmla="*/ 9515 h 8963200"/>
                <a:gd name="connsiteX2" fmla="*/ 4794641 w 8786542"/>
                <a:gd name="connsiteY2" fmla="*/ 282231 h 8963200"/>
                <a:gd name="connsiteX3" fmla="*/ 3816073 w 8786542"/>
                <a:gd name="connsiteY3" fmla="*/ 1661852 h 8963200"/>
                <a:gd name="connsiteX4" fmla="*/ 3398978 w 8786542"/>
                <a:gd name="connsiteY4" fmla="*/ 2848968 h 8963200"/>
                <a:gd name="connsiteX5" fmla="*/ 2292073 w 8786542"/>
                <a:gd name="connsiteY5" fmla="*/ 4164420 h 8963200"/>
                <a:gd name="connsiteX6" fmla="*/ 2131652 w 8786542"/>
                <a:gd name="connsiteY6" fmla="*/ 4405052 h 8963200"/>
                <a:gd name="connsiteX7" fmla="*/ 2163736 w 8786542"/>
                <a:gd name="connsiteY7" fmla="*/ 5014652 h 8963200"/>
                <a:gd name="connsiteX8" fmla="*/ 1554136 w 8786542"/>
                <a:gd name="connsiteY8" fmla="*/ 5929052 h 8963200"/>
                <a:gd name="connsiteX9" fmla="*/ 1441841 w 8786542"/>
                <a:gd name="connsiteY9" fmla="*/ 7292631 h 8963200"/>
                <a:gd name="connsiteX10" fmla="*/ 1297463 w 8786542"/>
                <a:gd name="connsiteY10" fmla="*/ 7725768 h 8963200"/>
                <a:gd name="connsiteX11" fmla="*/ 816199 w 8786542"/>
                <a:gd name="connsiteY11" fmla="*/ 8463704 h 8963200"/>
                <a:gd name="connsiteX12" fmla="*/ 431189 w 8786542"/>
                <a:gd name="connsiteY12" fmla="*/ 8784547 h 8963200"/>
                <a:gd name="connsiteX13" fmla="*/ 30136 w 8786542"/>
                <a:gd name="connsiteY13" fmla="*/ 8961010 h 8963200"/>
                <a:gd name="connsiteX14" fmla="*/ 1425799 w 8786542"/>
                <a:gd name="connsiteY14" fmla="*/ 8880799 h 8963200"/>
                <a:gd name="connsiteX15" fmla="*/ 1987273 w 8786542"/>
                <a:gd name="connsiteY15" fmla="*/ 8816631 h 8963200"/>
                <a:gd name="connsiteX16" fmla="*/ 2051441 w 8786542"/>
                <a:gd name="connsiteY16" fmla="*/ 8784547 h 8963200"/>
                <a:gd name="connsiteX17" fmla="*/ 3431063 w 8786542"/>
                <a:gd name="connsiteY17" fmla="*/ 8383494 h 8963200"/>
                <a:gd name="connsiteX18" fmla="*/ 5275905 w 8786542"/>
                <a:gd name="connsiteY18" fmla="*/ 8142862 h 8963200"/>
                <a:gd name="connsiteX19" fmla="*/ 7201398 w 8786542"/>
                <a:gd name="connsiteY19" fmla="*/ 8032504 h 8963200"/>
                <a:gd name="connsiteX20" fmla="*/ 7662966 w 8786542"/>
                <a:gd name="connsiteY20" fmla="*/ 7318679 h 8963200"/>
                <a:gd name="connsiteX21" fmla="*/ 7992146 w 8786542"/>
                <a:gd name="connsiteY21" fmla="*/ 6417583 h 8963200"/>
                <a:gd name="connsiteX22" fmla="*/ 8015283 w 8786542"/>
                <a:gd name="connsiteY22" fmla="*/ 5844011 h 8963200"/>
                <a:gd name="connsiteX23" fmla="*/ 8057623 w 8786542"/>
                <a:gd name="connsiteY23" fmla="*/ 5505921 h 8963200"/>
                <a:gd name="connsiteX24" fmla="*/ 8057206 w 8786542"/>
                <a:gd name="connsiteY24" fmla="*/ 5143572 h 8963200"/>
                <a:gd name="connsiteX25" fmla="*/ 8388073 w 8786542"/>
                <a:gd name="connsiteY25" fmla="*/ 3875662 h 8963200"/>
                <a:gd name="connsiteX26" fmla="*/ 8580578 w 8786542"/>
                <a:gd name="connsiteY26" fmla="*/ 3233978 h 8963200"/>
                <a:gd name="connsiteX27" fmla="*/ 8628705 w 8786542"/>
                <a:gd name="connsiteY27" fmla="*/ 2544168 h 8963200"/>
                <a:gd name="connsiteX28" fmla="*/ 8740999 w 8786542"/>
                <a:gd name="connsiteY28" fmla="*/ 1998736 h 8963200"/>
                <a:gd name="connsiteX29" fmla="*/ 8724957 w 8786542"/>
                <a:gd name="connsiteY29" fmla="*/ 747452 h 8963200"/>
                <a:gd name="connsiteX30" fmla="*/ 8757041 w 8786542"/>
                <a:gd name="connsiteY30" fmla="*/ 89725 h 8963200"/>
                <a:gd name="connsiteX31" fmla="*/ 8500368 w 8786542"/>
                <a:gd name="connsiteY31" fmla="*/ 153894 h 8963200"/>
                <a:gd name="connsiteX32" fmla="*/ 7858684 w 8786542"/>
                <a:gd name="connsiteY32" fmla="*/ 185978 h 8963200"/>
                <a:gd name="connsiteX33" fmla="*/ 6799905 w 8786542"/>
                <a:gd name="connsiteY33" fmla="*/ 137852 h 8963200"/>
                <a:gd name="connsiteX34" fmla="*/ 5741126 w 8786542"/>
                <a:gd name="connsiteY34" fmla="*/ 218062 h 8963200"/>
                <a:gd name="connsiteX35" fmla="*/ 5291947 w 8786542"/>
                <a:gd name="connsiteY35" fmla="*/ 105768 h 8963200"/>
                <a:gd name="connsiteX36" fmla="*/ 5553821 w 8786542"/>
                <a:gd name="connsiteY36" fmla="*/ 151032 h 8963200"/>
                <a:gd name="connsiteX37" fmla="*/ 4826726 w 8786542"/>
                <a:gd name="connsiteY37" fmla="*/ 41599 h 8963200"/>
                <a:gd name="connsiteX38" fmla="*/ 5035273 w 8786542"/>
                <a:gd name="connsiteY38" fmla="*/ 169936 h 8963200"/>
                <a:gd name="connsiteX39" fmla="*/ 5131526 w 8786542"/>
                <a:gd name="connsiteY39" fmla="*/ 153894 h 8963200"/>
                <a:gd name="connsiteX40" fmla="*/ 5099441 w 8786542"/>
                <a:gd name="connsiteY40" fmla="*/ 121810 h 8963200"/>
                <a:gd name="connsiteX41" fmla="*/ 5019231 w 8786542"/>
                <a:gd name="connsiteY41" fmla="*/ 73683 h 8963200"/>
                <a:gd name="connsiteX42" fmla="*/ 5115484 w 8786542"/>
                <a:gd name="connsiteY42" fmla="*/ 9515 h 8963200"/>
                <a:gd name="connsiteX0" fmla="*/ 4751619 w 8422677"/>
                <a:gd name="connsiteY0" fmla="*/ 9515 h 8880987"/>
                <a:gd name="connsiteX1" fmla="*/ 4751619 w 8422677"/>
                <a:gd name="connsiteY1" fmla="*/ 9515 h 8880987"/>
                <a:gd name="connsiteX2" fmla="*/ 4430776 w 8422677"/>
                <a:gd name="connsiteY2" fmla="*/ 282231 h 8880987"/>
                <a:gd name="connsiteX3" fmla="*/ 3452208 w 8422677"/>
                <a:gd name="connsiteY3" fmla="*/ 1661852 h 8880987"/>
                <a:gd name="connsiteX4" fmla="*/ 3035113 w 8422677"/>
                <a:gd name="connsiteY4" fmla="*/ 2848968 h 8880987"/>
                <a:gd name="connsiteX5" fmla="*/ 1928208 w 8422677"/>
                <a:gd name="connsiteY5" fmla="*/ 4164420 h 8880987"/>
                <a:gd name="connsiteX6" fmla="*/ 1767787 w 8422677"/>
                <a:gd name="connsiteY6" fmla="*/ 4405052 h 8880987"/>
                <a:gd name="connsiteX7" fmla="*/ 1799871 w 8422677"/>
                <a:gd name="connsiteY7" fmla="*/ 5014652 h 8880987"/>
                <a:gd name="connsiteX8" fmla="*/ 1190271 w 8422677"/>
                <a:gd name="connsiteY8" fmla="*/ 5929052 h 8880987"/>
                <a:gd name="connsiteX9" fmla="*/ 1077976 w 8422677"/>
                <a:gd name="connsiteY9" fmla="*/ 7292631 h 8880987"/>
                <a:gd name="connsiteX10" fmla="*/ 933598 w 8422677"/>
                <a:gd name="connsiteY10" fmla="*/ 7725768 h 8880987"/>
                <a:gd name="connsiteX11" fmla="*/ 452334 w 8422677"/>
                <a:gd name="connsiteY11" fmla="*/ 8463704 h 8880987"/>
                <a:gd name="connsiteX12" fmla="*/ 67324 w 8422677"/>
                <a:gd name="connsiteY12" fmla="*/ 8784547 h 8880987"/>
                <a:gd name="connsiteX13" fmla="*/ 1891759 w 8422677"/>
                <a:gd name="connsiteY13" fmla="*/ 7639600 h 8880987"/>
                <a:gd name="connsiteX14" fmla="*/ 1061934 w 8422677"/>
                <a:gd name="connsiteY14" fmla="*/ 8880799 h 8880987"/>
                <a:gd name="connsiteX15" fmla="*/ 1623408 w 8422677"/>
                <a:gd name="connsiteY15" fmla="*/ 8816631 h 8880987"/>
                <a:gd name="connsiteX16" fmla="*/ 1687576 w 8422677"/>
                <a:gd name="connsiteY16" fmla="*/ 8784547 h 8880987"/>
                <a:gd name="connsiteX17" fmla="*/ 3067198 w 8422677"/>
                <a:gd name="connsiteY17" fmla="*/ 8383494 h 8880987"/>
                <a:gd name="connsiteX18" fmla="*/ 4912040 w 8422677"/>
                <a:gd name="connsiteY18" fmla="*/ 8142862 h 8880987"/>
                <a:gd name="connsiteX19" fmla="*/ 6837533 w 8422677"/>
                <a:gd name="connsiteY19" fmla="*/ 8032504 h 8880987"/>
                <a:gd name="connsiteX20" fmla="*/ 7299101 w 8422677"/>
                <a:gd name="connsiteY20" fmla="*/ 7318679 h 8880987"/>
                <a:gd name="connsiteX21" fmla="*/ 7628281 w 8422677"/>
                <a:gd name="connsiteY21" fmla="*/ 6417583 h 8880987"/>
                <a:gd name="connsiteX22" fmla="*/ 7651418 w 8422677"/>
                <a:gd name="connsiteY22" fmla="*/ 5844011 h 8880987"/>
                <a:gd name="connsiteX23" fmla="*/ 7693758 w 8422677"/>
                <a:gd name="connsiteY23" fmla="*/ 5505921 h 8880987"/>
                <a:gd name="connsiteX24" fmla="*/ 7693341 w 8422677"/>
                <a:gd name="connsiteY24" fmla="*/ 5143572 h 8880987"/>
                <a:gd name="connsiteX25" fmla="*/ 8024208 w 8422677"/>
                <a:gd name="connsiteY25" fmla="*/ 3875662 h 8880987"/>
                <a:gd name="connsiteX26" fmla="*/ 8216713 w 8422677"/>
                <a:gd name="connsiteY26" fmla="*/ 3233978 h 8880987"/>
                <a:gd name="connsiteX27" fmla="*/ 8264840 w 8422677"/>
                <a:gd name="connsiteY27" fmla="*/ 2544168 h 8880987"/>
                <a:gd name="connsiteX28" fmla="*/ 8377134 w 8422677"/>
                <a:gd name="connsiteY28" fmla="*/ 1998736 h 8880987"/>
                <a:gd name="connsiteX29" fmla="*/ 8361092 w 8422677"/>
                <a:gd name="connsiteY29" fmla="*/ 747452 h 8880987"/>
                <a:gd name="connsiteX30" fmla="*/ 8393176 w 8422677"/>
                <a:gd name="connsiteY30" fmla="*/ 89725 h 8880987"/>
                <a:gd name="connsiteX31" fmla="*/ 8136503 w 8422677"/>
                <a:gd name="connsiteY31" fmla="*/ 153894 h 8880987"/>
                <a:gd name="connsiteX32" fmla="*/ 7494819 w 8422677"/>
                <a:gd name="connsiteY32" fmla="*/ 185978 h 8880987"/>
                <a:gd name="connsiteX33" fmla="*/ 6436040 w 8422677"/>
                <a:gd name="connsiteY33" fmla="*/ 137852 h 8880987"/>
                <a:gd name="connsiteX34" fmla="*/ 5377261 w 8422677"/>
                <a:gd name="connsiteY34" fmla="*/ 218062 h 8880987"/>
                <a:gd name="connsiteX35" fmla="*/ 4928082 w 8422677"/>
                <a:gd name="connsiteY35" fmla="*/ 105768 h 8880987"/>
                <a:gd name="connsiteX36" fmla="*/ 5189956 w 8422677"/>
                <a:gd name="connsiteY36" fmla="*/ 151032 h 8880987"/>
                <a:gd name="connsiteX37" fmla="*/ 4462861 w 8422677"/>
                <a:gd name="connsiteY37" fmla="*/ 41599 h 8880987"/>
                <a:gd name="connsiteX38" fmla="*/ 4671408 w 8422677"/>
                <a:gd name="connsiteY38" fmla="*/ 169936 h 8880987"/>
                <a:gd name="connsiteX39" fmla="*/ 4767661 w 8422677"/>
                <a:gd name="connsiteY39" fmla="*/ 153894 h 8880987"/>
                <a:gd name="connsiteX40" fmla="*/ 4735576 w 8422677"/>
                <a:gd name="connsiteY40" fmla="*/ 121810 h 8880987"/>
                <a:gd name="connsiteX41" fmla="*/ 4655366 w 8422677"/>
                <a:gd name="connsiteY41" fmla="*/ 73683 h 8880987"/>
                <a:gd name="connsiteX42" fmla="*/ 4751619 w 8422677"/>
                <a:gd name="connsiteY42" fmla="*/ 9515 h 8880987"/>
                <a:gd name="connsiteX0" fmla="*/ 4751619 w 8422677"/>
                <a:gd name="connsiteY0" fmla="*/ 9515 h 8879742"/>
                <a:gd name="connsiteX1" fmla="*/ 4751619 w 8422677"/>
                <a:gd name="connsiteY1" fmla="*/ 9515 h 8879742"/>
                <a:gd name="connsiteX2" fmla="*/ 4430776 w 8422677"/>
                <a:gd name="connsiteY2" fmla="*/ 282231 h 8879742"/>
                <a:gd name="connsiteX3" fmla="*/ 3452208 w 8422677"/>
                <a:gd name="connsiteY3" fmla="*/ 1661852 h 8879742"/>
                <a:gd name="connsiteX4" fmla="*/ 3035113 w 8422677"/>
                <a:gd name="connsiteY4" fmla="*/ 2848968 h 8879742"/>
                <a:gd name="connsiteX5" fmla="*/ 1928208 w 8422677"/>
                <a:gd name="connsiteY5" fmla="*/ 4164420 h 8879742"/>
                <a:gd name="connsiteX6" fmla="*/ 1767787 w 8422677"/>
                <a:gd name="connsiteY6" fmla="*/ 4405052 h 8879742"/>
                <a:gd name="connsiteX7" fmla="*/ 1799871 w 8422677"/>
                <a:gd name="connsiteY7" fmla="*/ 5014652 h 8879742"/>
                <a:gd name="connsiteX8" fmla="*/ 1190271 w 8422677"/>
                <a:gd name="connsiteY8" fmla="*/ 5929052 h 8879742"/>
                <a:gd name="connsiteX9" fmla="*/ 1077976 w 8422677"/>
                <a:gd name="connsiteY9" fmla="*/ 7292631 h 8879742"/>
                <a:gd name="connsiteX10" fmla="*/ 933598 w 8422677"/>
                <a:gd name="connsiteY10" fmla="*/ 7725768 h 8879742"/>
                <a:gd name="connsiteX11" fmla="*/ 452334 w 8422677"/>
                <a:gd name="connsiteY11" fmla="*/ 8463704 h 8879742"/>
                <a:gd name="connsiteX12" fmla="*/ 67324 w 8422677"/>
                <a:gd name="connsiteY12" fmla="*/ 8784547 h 8879742"/>
                <a:gd name="connsiteX13" fmla="*/ 1891759 w 8422677"/>
                <a:gd name="connsiteY13" fmla="*/ 7639600 h 8879742"/>
                <a:gd name="connsiteX14" fmla="*/ 2538868 w 8422677"/>
                <a:gd name="connsiteY14" fmla="*/ 7849271 h 8879742"/>
                <a:gd name="connsiteX15" fmla="*/ 1623408 w 8422677"/>
                <a:gd name="connsiteY15" fmla="*/ 8816631 h 8879742"/>
                <a:gd name="connsiteX16" fmla="*/ 1687576 w 8422677"/>
                <a:gd name="connsiteY16" fmla="*/ 8784547 h 8879742"/>
                <a:gd name="connsiteX17" fmla="*/ 3067198 w 8422677"/>
                <a:gd name="connsiteY17" fmla="*/ 8383494 h 8879742"/>
                <a:gd name="connsiteX18" fmla="*/ 4912040 w 8422677"/>
                <a:gd name="connsiteY18" fmla="*/ 8142862 h 8879742"/>
                <a:gd name="connsiteX19" fmla="*/ 6837533 w 8422677"/>
                <a:gd name="connsiteY19" fmla="*/ 8032504 h 8879742"/>
                <a:gd name="connsiteX20" fmla="*/ 7299101 w 8422677"/>
                <a:gd name="connsiteY20" fmla="*/ 7318679 h 8879742"/>
                <a:gd name="connsiteX21" fmla="*/ 7628281 w 8422677"/>
                <a:gd name="connsiteY21" fmla="*/ 6417583 h 8879742"/>
                <a:gd name="connsiteX22" fmla="*/ 7651418 w 8422677"/>
                <a:gd name="connsiteY22" fmla="*/ 5844011 h 8879742"/>
                <a:gd name="connsiteX23" fmla="*/ 7693758 w 8422677"/>
                <a:gd name="connsiteY23" fmla="*/ 5505921 h 8879742"/>
                <a:gd name="connsiteX24" fmla="*/ 7693341 w 8422677"/>
                <a:gd name="connsiteY24" fmla="*/ 5143572 h 8879742"/>
                <a:gd name="connsiteX25" fmla="*/ 8024208 w 8422677"/>
                <a:gd name="connsiteY25" fmla="*/ 3875662 h 8879742"/>
                <a:gd name="connsiteX26" fmla="*/ 8216713 w 8422677"/>
                <a:gd name="connsiteY26" fmla="*/ 3233978 h 8879742"/>
                <a:gd name="connsiteX27" fmla="*/ 8264840 w 8422677"/>
                <a:gd name="connsiteY27" fmla="*/ 2544168 h 8879742"/>
                <a:gd name="connsiteX28" fmla="*/ 8377134 w 8422677"/>
                <a:gd name="connsiteY28" fmla="*/ 1998736 h 8879742"/>
                <a:gd name="connsiteX29" fmla="*/ 8361092 w 8422677"/>
                <a:gd name="connsiteY29" fmla="*/ 747452 h 8879742"/>
                <a:gd name="connsiteX30" fmla="*/ 8393176 w 8422677"/>
                <a:gd name="connsiteY30" fmla="*/ 89725 h 8879742"/>
                <a:gd name="connsiteX31" fmla="*/ 8136503 w 8422677"/>
                <a:gd name="connsiteY31" fmla="*/ 153894 h 8879742"/>
                <a:gd name="connsiteX32" fmla="*/ 7494819 w 8422677"/>
                <a:gd name="connsiteY32" fmla="*/ 185978 h 8879742"/>
                <a:gd name="connsiteX33" fmla="*/ 6436040 w 8422677"/>
                <a:gd name="connsiteY33" fmla="*/ 137852 h 8879742"/>
                <a:gd name="connsiteX34" fmla="*/ 5377261 w 8422677"/>
                <a:gd name="connsiteY34" fmla="*/ 218062 h 8879742"/>
                <a:gd name="connsiteX35" fmla="*/ 4928082 w 8422677"/>
                <a:gd name="connsiteY35" fmla="*/ 105768 h 8879742"/>
                <a:gd name="connsiteX36" fmla="*/ 5189956 w 8422677"/>
                <a:gd name="connsiteY36" fmla="*/ 151032 h 8879742"/>
                <a:gd name="connsiteX37" fmla="*/ 4462861 w 8422677"/>
                <a:gd name="connsiteY37" fmla="*/ 41599 h 8879742"/>
                <a:gd name="connsiteX38" fmla="*/ 4671408 w 8422677"/>
                <a:gd name="connsiteY38" fmla="*/ 169936 h 8879742"/>
                <a:gd name="connsiteX39" fmla="*/ 4767661 w 8422677"/>
                <a:gd name="connsiteY39" fmla="*/ 153894 h 8879742"/>
                <a:gd name="connsiteX40" fmla="*/ 4735576 w 8422677"/>
                <a:gd name="connsiteY40" fmla="*/ 121810 h 8879742"/>
                <a:gd name="connsiteX41" fmla="*/ 4655366 w 8422677"/>
                <a:gd name="connsiteY41" fmla="*/ 73683 h 8879742"/>
                <a:gd name="connsiteX42" fmla="*/ 4751619 w 8422677"/>
                <a:gd name="connsiteY42" fmla="*/ 9515 h 8879742"/>
                <a:gd name="connsiteX0" fmla="*/ 4751619 w 8422677"/>
                <a:gd name="connsiteY0" fmla="*/ 9515 h 8822991"/>
                <a:gd name="connsiteX1" fmla="*/ 4751619 w 8422677"/>
                <a:gd name="connsiteY1" fmla="*/ 9515 h 8822991"/>
                <a:gd name="connsiteX2" fmla="*/ 4430776 w 8422677"/>
                <a:gd name="connsiteY2" fmla="*/ 282231 h 8822991"/>
                <a:gd name="connsiteX3" fmla="*/ 3452208 w 8422677"/>
                <a:gd name="connsiteY3" fmla="*/ 1661852 h 8822991"/>
                <a:gd name="connsiteX4" fmla="*/ 3035113 w 8422677"/>
                <a:gd name="connsiteY4" fmla="*/ 2848968 h 8822991"/>
                <a:gd name="connsiteX5" fmla="*/ 1928208 w 8422677"/>
                <a:gd name="connsiteY5" fmla="*/ 4164420 h 8822991"/>
                <a:gd name="connsiteX6" fmla="*/ 1767787 w 8422677"/>
                <a:gd name="connsiteY6" fmla="*/ 4405052 h 8822991"/>
                <a:gd name="connsiteX7" fmla="*/ 1799871 w 8422677"/>
                <a:gd name="connsiteY7" fmla="*/ 5014652 h 8822991"/>
                <a:gd name="connsiteX8" fmla="*/ 1190271 w 8422677"/>
                <a:gd name="connsiteY8" fmla="*/ 5929052 h 8822991"/>
                <a:gd name="connsiteX9" fmla="*/ 1077976 w 8422677"/>
                <a:gd name="connsiteY9" fmla="*/ 7292631 h 8822991"/>
                <a:gd name="connsiteX10" fmla="*/ 933598 w 8422677"/>
                <a:gd name="connsiteY10" fmla="*/ 7725768 h 8822991"/>
                <a:gd name="connsiteX11" fmla="*/ 452334 w 8422677"/>
                <a:gd name="connsiteY11" fmla="*/ 8463704 h 8822991"/>
                <a:gd name="connsiteX12" fmla="*/ 67324 w 8422677"/>
                <a:gd name="connsiteY12" fmla="*/ 8784547 h 8822991"/>
                <a:gd name="connsiteX13" fmla="*/ 1891759 w 8422677"/>
                <a:gd name="connsiteY13" fmla="*/ 7639600 h 8822991"/>
                <a:gd name="connsiteX14" fmla="*/ 2538868 w 8422677"/>
                <a:gd name="connsiteY14" fmla="*/ 7849271 h 8822991"/>
                <a:gd name="connsiteX15" fmla="*/ 1623408 w 8422677"/>
                <a:gd name="connsiteY15" fmla="*/ 8816631 h 8822991"/>
                <a:gd name="connsiteX16" fmla="*/ 2946554 w 8422677"/>
                <a:gd name="connsiteY16" fmla="*/ 8149039 h 8822991"/>
                <a:gd name="connsiteX17" fmla="*/ 3067198 w 8422677"/>
                <a:gd name="connsiteY17" fmla="*/ 8383494 h 8822991"/>
                <a:gd name="connsiteX18" fmla="*/ 4912040 w 8422677"/>
                <a:gd name="connsiteY18" fmla="*/ 8142862 h 8822991"/>
                <a:gd name="connsiteX19" fmla="*/ 6837533 w 8422677"/>
                <a:gd name="connsiteY19" fmla="*/ 8032504 h 8822991"/>
                <a:gd name="connsiteX20" fmla="*/ 7299101 w 8422677"/>
                <a:gd name="connsiteY20" fmla="*/ 7318679 h 8822991"/>
                <a:gd name="connsiteX21" fmla="*/ 7628281 w 8422677"/>
                <a:gd name="connsiteY21" fmla="*/ 6417583 h 8822991"/>
                <a:gd name="connsiteX22" fmla="*/ 7651418 w 8422677"/>
                <a:gd name="connsiteY22" fmla="*/ 5844011 h 8822991"/>
                <a:gd name="connsiteX23" fmla="*/ 7693758 w 8422677"/>
                <a:gd name="connsiteY23" fmla="*/ 5505921 h 8822991"/>
                <a:gd name="connsiteX24" fmla="*/ 7693341 w 8422677"/>
                <a:gd name="connsiteY24" fmla="*/ 5143572 h 8822991"/>
                <a:gd name="connsiteX25" fmla="*/ 8024208 w 8422677"/>
                <a:gd name="connsiteY25" fmla="*/ 3875662 h 8822991"/>
                <a:gd name="connsiteX26" fmla="*/ 8216713 w 8422677"/>
                <a:gd name="connsiteY26" fmla="*/ 3233978 h 8822991"/>
                <a:gd name="connsiteX27" fmla="*/ 8264840 w 8422677"/>
                <a:gd name="connsiteY27" fmla="*/ 2544168 h 8822991"/>
                <a:gd name="connsiteX28" fmla="*/ 8377134 w 8422677"/>
                <a:gd name="connsiteY28" fmla="*/ 1998736 h 8822991"/>
                <a:gd name="connsiteX29" fmla="*/ 8361092 w 8422677"/>
                <a:gd name="connsiteY29" fmla="*/ 747452 h 8822991"/>
                <a:gd name="connsiteX30" fmla="*/ 8393176 w 8422677"/>
                <a:gd name="connsiteY30" fmla="*/ 89725 h 8822991"/>
                <a:gd name="connsiteX31" fmla="*/ 8136503 w 8422677"/>
                <a:gd name="connsiteY31" fmla="*/ 153894 h 8822991"/>
                <a:gd name="connsiteX32" fmla="*/ 7494819 w 8422677"/>
                <a:gd name="connsiteY32" fmla="*/ 185978 h 8822991"/>
                <a:gd name="connsiteX33" fmla="*/ 6436040 w 8422677"/>
                <a:gd name="connsiteY33" fmla="*/ 137852 h 8822991"/>
                <a:gd name="connsiteX34" fmla="*/ 5377261 w 8422677"/>
                <a:gd name="connsiteY34" fmla="*/ 218062 h 8822991"/>
                <a:gd name="connsiteX35" fmla="*/ 4928082 w 8422677"/>
                <a:gd name="connsiteY35" fmla="*/ 105768 h 8822991"/>
                <a:gd name="connsiteX36" fmla="*/ 5189956 w 8422677"/>
                <a:gd name="connsiteY36" fmla="*/ 151032 h 8822991"/>
                <a:gd name="connsiteX37" fmla="*/ 4462861 w 8422677"/>
                <a:gd name="connsiteY37" fmla="*/ 41599 h 8822991"/>
                <a:gd name="connsiteX38" fmla="*/ 4671408 w 8422677"/>
                <a:gd name="connsiteY38" fmla="*/ 169936 h 8822991"/>
                <a:gd name="connsiteX39" fmla="*/ 4767661 w 8422677"/>
                <a:gd name="connsiteY39" fmla="*/ 153894 h 8822991"/>
                <a:gd name="connsiteX40" fmla="*/ 4735576 w 8422677"/>
                <a:gd name="connsiteY40" fmla="*/ 121810 h 8822991"/>
                <a:gd name="connsiteX41" fmla="*/ 4655366 w 8422677"/>
                <a:gd name="connsiteY41" fmla="*/ 73683 h 8822991"/>
                <a:gd name="connsiteX42" fmla="*/ 4751619 w 8422677"/>
                <a:gd name="connsiteY42" fmla="*/ 9515 h 8822991"/>
                <a:gd name="connsiteX0" fmla="*/ 4751619 w 8422677"/>
                <a:gd name="connsiteY0" fmla="*/ 9515 h 8822991"/>
                <a:gd name="connsiteX1" fmla="*/ 4751619 w 8422677"/>
                <a:gd name="connsiteY1" fmla="*/ 9515 h 8822991"/>
                <a:gd name="connsiteX2" fmla="*/ 4430776 w 8422677"/>
                <a:gd name="connsiteY2" fmla="*/ 282231 h 8822991"/>
                <a:gd name="connsiteX3" fmla="*/ 3452208 w 8422677"/>
                <a:gd name="connsiteY3" fmla="*/ 1661852 h 8822991"/>
                <a:gd name="connsiteX4" fmla="*/ 3035113 w 8422677"/>
                <a:gd name="connsiteY4" fmla="*/ 2848968 h 8822991"/>
                <a:gd name="connsiteX5" fmla="*/ 1928208 w 8422677"/>
                <a:gd name="connsiteY5" fmla="*/ 4164420 h 8822991"/>
                <a:gd name="connsiteX6" fmla="*/ 1767787 w 8422677"/>
                <a:gd name="connsiteY6" fmla="*/ 4405052 h 8822991"/>
                <a:gd name="connsiteX7" fmla="*/ 1799871 w 8422677"/>
                <a:gd name="connsiteY7" fmla="*/ 5014652 h 8822991"/>
                <a:gd name="connsiteX8" fmla="*/ 1190271 w 8422677"/>
                <a:gd name="connsiteY8" fmla="*/ 5929052 h 8822991"/>
                <a:gd name="connsiteX9" fmla="*/ 1077976 w 8422677"/>
                <a:gd name="connsiteY9" fmla="*/ 7292631 h 8822991"/>
                <a:gd name="connsiteX10" fmla="*/ 933598 w 8422677"/>
                <a:gd name="connsiteY10" fmla="*/ 7725768 h 8822991"/>
                <a:gd name="connsiteX11" fmla="*/ 452334 w 8422677"/>
                <a:gd name="connsiteY11" fmla="*/ 8463704 h 8822991"/>
                <a:gd name="connsiteX12" fmla="*/ 67324 w 8422677"/>
                <a:gd name="connsiteY12" fmla="*/ 8784547 h 8822991"/>
                <a:gd name="connsiteX13" fmla="*/ 1891759 w 8422677"/>
                <a:gd name="connsiteY13" fmla="*/ 7639600 h 8822991"/>
                <a:gd name="connsiteX14" fmla="*/ 2538868 w 8422677"/>
                <a:gd name="connsiteY14" fmla="*/ 7849271 h 8822991"/>
                <a:gd name="connsiteX15" fmla="*/ 2870042 w 8422677"/>
                <a:gd name="connsiteY15" fmla="*/ 8059897 h 8822991"/>
                <a:gd name="connsiteX16" fmla="*/ 2946554 w 8422677"/>
                <a:gd name="connsiteY16" fmla="*/ 8149039 h 8822991"/>
                <a:gd name="connsiteX17" fmla="*/ 3067198 w 8422677"/>
                <a:gd name="connsiteY17" fmla="*/ 8383494 h 8822991"/>
                <a:gd name="connsiteX18" fmla="*/ 4912040 w 8422677"/>
                <a:gd name="connsiteY18" fmla="*/ 8142862 h 8822991"/>
                <a:gd name="connsiteX19" fmla="*/ 6837533 w 8422677"/>
                <a:gd name="connsiteY19" fmla="*/ 8032504 h 8822991"/>
                <a:gd name="connsiteX20" fmla="*/ 7299101 w 8422677"/>
                <a:gd name="connsiteY20" fmla="*/ 7318679 h 8822991"/>
                <a:gd name="connsiteX21" fmla="*/ 7628281 w 8422677"/>
                <a:gd name="connsiteY21" fmla="*/ 6417583 h 8822991"/>
                <a:gd name="connsiteX22" fmla="*/ 7651418 w 8422677"/>
                <a:gd name="connsiteY22" fmla="*/ 5844011 h 8822991"/>
                <a:gd name="connsiteX23" fmla="*/ 7693758 w 8422677"/>
                <a:gd name="connsiteY23" fmla="*/ 5505921 h 8822991"/>
                <a:gd name="connsiteX24" fmla="*/ 7693341 w 8422677"/>
                <a:gd name="connsiteY24" fmla="*/ 5143572 h 8822991"/>
                <a:gd name="connsiteX25" fmla="*/ 8024208 w 8422677"/>
                <a:gd name="connsiteY25" fmla="*/ 3875662 h 8822991"/>
                <a:gd name="connsiteX26" fmla="*/ 8216713 w 8422677"/>
                <a:gd name="connsiteY26" fmla="*/ 3233978 h 8822991"/>
                <a:gd name="connsiteX27" fmla="*/ 8264840 w 8422677"/>
                <a:gd name="connsiteY27" fmla="*/ 2544168 h 8822991"/>
                <a:gd name="connsiteX28" fmla="*/ 8377134 w 8422677"/>
                <a:gd name="connsiteY28" fmla="*/ 1998736 h 8822991"/>
                <a:gd name="connsiteX29" fmla="*/ 8361092 w 8422677"/>
                <a:gd name="connsiteY29" fmla="*/ 747452 h 8822991"/>
                <a:gd name="connsiteX30" fmla="*/ 8393176 w 8422677"/>
                <a:gd name="connsiteY30" fmla="*/ 89725 h 8822991"/>
                <a:gd name="connsiteX31" fmla="*/ 8136503 w 8422677"/>
                <a:gd name="connsiteY31" fmla="*/ 153894 h 8822991"/>
                <a:gd name="connsiteX32" fmla="*/ 7494819 w 8422677"/>
                <a:gd name="connsiteY32" fmla="*/ 185978 h 8822991"/>
                <a:gd name="connsiteX33" fmla="*/ 6436040 w 8422677"/>
                <a:gd name="connsiteY33" fmla="*/ 137852 h 8822991"/>
                <a:gd name="connsiteX34" fmla="*/ 5377261 w 8422677"/>
                <a:gd name="connsiteY34" fmla="*/ 218062 h 8822991"/>
                <a:gd name="connsiteX35" fmla="*/ 4928082 w 8422677"/>
                <a:gd name="connsiteY35" fmla="*/ 105768 h 8822991"/>
                <a:gd name="connsiteX36" fmla="*/ 5189956 w 8422677"/>
                <a:gd name="connsiteY36" fmla="*/ 151032 h 8822991"/>
                <a:gd name="connsiteX37" fmla="*/ 4462861 w 8422677"/>
                <a:gd name="connsiteY37" fmla="*/ 41599 h 8822991"/>
                <a:gd name="connsiteX38" fmla="*/ 4671408 w 8422677"/>
                <a:gd name="connsiteY38" fmla="*/ 169936 h 8822991"/>
                <a:gd name="connsiteX39" fmla="*/ 4767661 w 8422677"/>
                <a:gd name="connsiteY39" fmla="*/ 153894 h 8822991"/>
                <a:gd name="connsiteX40" fmla="*/ 4735576 w 8422677"/>
                <a:gd name="connsiteY40" fmla="*/ 121810 h 8822991"/>
                <a:gd name="connsiteX41" fmla="*/ 4655366 w 8422677"/>
                <a:gd name="connsiteY41" fmla="*/ 73683 h 8822991"/>
                <a:gd name="connsiteX42" fmla="*/ 4751619 w 8422677"/>
                <a:gd name="connsiteY42" fmla="*/ 9515 h 8822991"/>
                <a:gd name="connsiteX0" fmla="*/ 4685841 w 8356899"/>
                <a:gd name="connsiteY0" fmla="*/ 9515 h 8786914"/>
                <a:gd name="connsiteX1" fmla="*/ 4685841 w 8356899"/>
                <a:gd name="connsiteY1" fmla="*/ 9515 h 8786914"/>
                <a:gd name="connsiteX2" fmla="*/ 4364998 w 8356899"/>
                <a:gd name="connsiteY2" fmla="*/ 282231 h 8786914"/>
                <a:gd name="connsiteX3" fmla="*/ 3386430 w 8356899"/>
                <a:gd name="connsiteY3" fmla="*/ 1661852 h 8786914"/>
                <a:gd name="connsiteX4" fmla="*/ 2969335 w 8356899"/>
                <a:gd name="connsiteY4" fmla="*/ 2848968 h 8786914"/>
                <a:gd name="connsiteX5" fmla="*/ 1862430 w 8356899"/>
                <a:gd name="connsiteY5" fmla="*/ 4164420 h 8786914"/>
                <a:gd name="connsiteX6" fmla="*/ 1702009 w 8356899"/>
                <a:gd name="connsiteY6" fmla="*/ 4405052 h 8786914"/>
                <a:gd name="connsiteX7" fmla="*/ 1734093 w 8356899"/>
                <a:gd name="connsiteY7" fmla="*/ 5014652 h 8786914"/>
                <a:gd name="connsiteX8" fmla="*/ 1124493 w 8356899"/>
                <a:gd name="connsiteY8" fmla="*/ 5929052 h 8786914"/>
                <a:gd name="connsiteX9" fmla="*/ 1012198 w 8356899"/>
                <a:gd name="connsiteY9" fmla="*/ 7292631 h 8786914"/>
                <a:gd name="connsiteX10" fmla="*/ 867820 w 8356899"/>
                <a:gd name="connsiteY10" fmla="*/ 7725768 h 8786914"/>
                <a:gd name="connsiteX11" fmla="*/ 1500122 w 8356899"/>
                <a:gd name="connsiteY11" fmla="*/ 7287943 h 8786914"/>
                <a:gd name="connsiteX12" fmla="*/ 1546 w 8356899"/>
                <a:gd name="connsiteY12" fmla="*/ 8784547 h 8786914"/>
                <a:gd name="connsiteX13" fmla="*/ 1825981 w 8356899"/>
                <a:gd name="connsiteY13" fmla="*/ 7639600 h 8786914"/>
                <a:gd name="connsiteX14" fmla="*/ 2473090 w 8356899"/>
                <a:gd name="connsiteY14" fmla="*/ 7849271 h 8786914"/>
                <a:gd name="connsiteX15" fmla="*/ 2804264 w 8356899"/>
                <a:gd name="connsiteY15" fmla="*/ 8059897 h 8786914"/>
                <a:gd name="connsiteX16" fmla="*/ 2880776 w 8356899"/>
                <a:gd name="connsiteY16" fmla="*/ 8149039 h 8786914"/>
                <a:gd name="connsiteX17" fmla="*/ 3001420 w 8356899"/>
                <a:gd name="connsiteY17" fmla="*/ 8383494 h 8786914"/>
                <a:gd name="connsiteX18" fmla="*/ 4846262 w 8356899"/>
                <a:gd name="connsiteY18" fmla="*/ 8142862 h 8786914"/>
                <a:gd name="connsiteX19" fmla="*/ 6771755 w 8356899"/>
                <a:gd name="connsiteY19" fmla="*/ 8032504 h 8786914"/>
                <a:gd name="connsiteX20" fmla="*/ 7233323 w 8356899"/>
                <a:gd name="connsiteY20" fmla="*/ 7318679 h 8786914"/>
                <a:gd name="connsiteX21" fmla="*/ 7562503 w 8356899"/>
                <a:gd name="connsiteY21" fmla="*/ 6417583 h 8786914"/>
                <a:gd name="connsiteX22" fmla="*/ 7585640 w 8356899"/>
                <a:gd name="connsiteY22" fmla="*/ 5844011 h 8786914"/>
                <a:gd name="connsiteX23" fmla="*/ 7627980 w 8356899"/>
                <a:gd name="connsiteY23" fmla="*/ 5505921 h 8786914"/>
                <a:gd name="connsiteX24" fmla="*/ 7627563 w 8356899"/>
                <a:gd name="connsiteY24" fmla="*/ 5143572 h 8786914"/>
                <a:gd name="connsiteX25" fmla="*/ 7958430 w 8356899"/>
                <a:gd name="connsiteY25" fmla="*/ 3875662 h 8786914"/>
                <a:gd name="connsiteX26" fmla="*/ 8150935 w 8356899"/>
                <a:gd name="connsiteY26" fmla="*/ 3233978 h 8786914"/>
                <a:gd name="connsiteX27" fmla="*/ 8199062 w 8356899"/>
                <a:gd name="connsiteY27" fmla="*/ 2544168 h 8786914"/>
                <a:gd name="connsiteX28" fmla="*/ 8311356 w 8356899"/>
                <a:gd name="connsiteY28" fmla="*/ 1998736 h 8786914"/>
                <a:gd name="connsiteX29" fmla="*/ 8295314 w 8356899"/>
                <a:gd name="connsiteY29" fmla="*/ 747452 h 8786914"/>
                <a:gd name="connsiteX30" fmla="*/ 8327398 w 8356899"/>
                <a:gd name="connsiteY30" fmla="*/ 89725 h 8786914"/>
                <a:gd name="connsiteX31" fmla="*/ 8070725 w 8356899"/>
                <a:gd name="connsiteY31" fmla="*/ 153894 h 8786914"/>
                <a:gd name="connsiteX32" fmla="*/ 7429041 w 8356899"/>
                <a:gd name="connsiteY32" fmla="*/ 185978 h 8786914"/>
                <a:gd name="connsiteX33" fmla="*/ 6370262 w 8356899"/>
                <a:gd name="connsiteY33" fmla="*/ 137852 h 8786914"/>
                <a:gd name="connsiteX34" fmla="*/ 5311483 w 8356899"/>
                <a:gd name="connsiteY34" fmla="*/ 218062 h 8786914"/>
                <a:gd name="connsiteX35" fmla="*/ 4862304 w 8356899"/>
                <a:gd name="connsiteY35" fmla="*/ 105768 h 8786914"/>
                <a:gd name="connsiteX36" fmla="*/ 5124178 w 8356899"/>
                <a:gd name="connsiteY36" fmla="*/ 151032 h 8786914"/>
                <a:gd name="connsiteX37" fmla="*/ 4397083 w 8356899"/>
                <a:gd name="connsiteY37" fmla="*/ 41599 h 8786914"/>
                <a:gd name="connsiteX38" fmla="*/ 4605630 w 8356899"/>
                <a:gd name="connsiteY38" fmla="*/ 169936 h 8786914"/>
                <a:gd name="connsiteX39" fmla="*/ 4701883 w 8356899"/>
                <a:gd name="connsiteY39" fmla="*/ 153894 h 8786914"/>
                <a:gd name="connsiteX40" fmla="*/ 4669798 w 8356899"/>
                <a:gd name="connsiteY40" fmla="*/ 121810 h 8786914"/>
                <a:gd name="connsiteX41" fmla="*/ 4589588 w 8356899"/>
                <a:gd name="connsiteY41" fmla="*/ 73683 h 8786914"/>
                <a:gd name="connsiteX42" fmla="*/ 4685841 w 8356899"/>
                <a:gd name="connsiteY42" fmla="*/ 9515 h 8786914"/>
                <a:gd name="connsiteX0" fmla="*/ 4685841 w 8356899"/>
                <a:gd name="connsiteY0" fmla="*/ 9515 h 8786914"/>
                <a:gd name="connsiteX1" fmla="*/ 4685841 w 8356899"/>
                <a:gd name="connsiteY1" fmla="*/ 9515 h 8786914"/>
                <a:gd name="connsiteX2" fmla="*/ 4364998 w 8356899"/>
                <a:gd name="connsiteY2" fmla="*/ 282231 h 8786914"/>
                <a:gd name="connsiteX3" fmla="*/ 3386430 w 8356899"/>
                <a:gd name="connsiteY3" fmla="*/ 1661852 h 8786914"/>
                <a:gd name="connsiteX4" fmla="*/ 2969335 w 8356899"/>
                <a:gd name="connsiteY4" fmla="*/ 2848968 h 8786914"/>
                <a:gd name="connsiteX5" fmla="*/ 1862430 w 8356899"/>
                <a:gd name="connsiteY5" fmla="*/ 4164420 h 8786914"/>
                <a:gd name="connsiteX6" fmla="*/ 1702009 w 8356899"/>
                <a:gd name="connsiteY6" fmla="*/ 4405052 h 8786914"/>
                <a:gd name="connsiteX7" fmla="*/ 1734093 w 8356899"/>
                <a:gd name="connsiteY7" fmla="*/ 5014652 h 8786914"/>
                <a:gd name="connsiteX8" fmla="*/ 1124493 w 8356899"/>
                <a:gd name="connsiteY8" fmla="*/ 5929052 h 8786914"/>
                <a:gd name="connsiteX9" fmla="*/ 1417710 w 8356899"/>
                <a:gd name="connsiteY9" fmla="*/ 7216635 h 8786914"/>
                <a:gd name="connsiteX10" fmla="*/ 867820 w 8356899"/>
                <a:gd name="connsiteY10" fmla="*/ 7725768 h 8786914"/>
                <a:gd name="connsiteX11" fmla="*/ 1500122 w 8356899"/>
                <a:gd name="connsiteY11" fmla="*/ 7287943 h 8786914"/>
                <a:gd name="connsiteX12" fmla="*/ 1546 w 8356899"/>
                <a:gd name="connsiteY12" fmla="*/ 8784547 h 8786914"/>
                <a:gd name="connsiteX13" fmla="*/ 1825981 w 8356899"/>
                <a:gd name="connsiteY13" fmla="*/ 7639600 h 8786914"/>
                <a:gd name="connsiteX14" fmla="*/ 2473090 w 8356899"/>
                <a:gd name="connsiteY14" fmla="*/ 7849271 h 8786914"/>
                <a:gd name="connsiteX15" fmla="*/ 2804264 w 8356899"/>
                <a:gd name="connsiteY15" fmla="*/ 8059897 h 8786914"/>
                <a:gd name="connsiteX16" fmla="*/ 2880776 w 8356899"/>
                <a:gd name="connsiteY16" fmla="*/ 8149039 h 8786914"/>
                <a:gd name="connsiteX17" fmla="*/ 3001420 w 8356899"/>
                <a:gd name="connsiteY17" fmla="*/ 8383494 h 8786914"/>
                <a:gd name="connsiteX18" fmla="*/ 4846262 w 8356899"/>
                <a:gd name="connsiteY18" fmla="*/ 8142862 h 8786914"/>
                <a:gd name="connsiteX19" fmla="*/ 6771755 w 8356899"/>
                <a:gd name="connsiteY19" fmla="*/ 8032504 h 8786914"/>
                <a:gd name="connsiteX20" fmla="*/ 7233323 w 8356899"/>
                <a:gd name="connsiteY20" fmla="*/ 7318679 h 8786914"/>
                <a:gd name="connsiteX21" fmla="*/ 7562503 w 8356899"/>
                <a:gd name="connsiteY21" fmla="*/ 6417583 h 8786914"/>
                <a:gd name="connsiteX22" fmla="*/ 7585640 w 8356899"/>
                <a:gd name="connsiteY22" fmla="*/ 5844011 h 8786914"/>
                <a:gd name="connsiteX23" fmla="*/ 7627980 w 8356899"/>
                <a:gd name="connsiteY23" fmla="*/ 5505921 h 8786914"/>
                <a:gd name="connsiteX24" fmla="*/ 7627563 w 8356899"/>
                <a:gd name="connsiteY24" fmla="*/ 5143572 h 8786914"/>
                <a:gd name="connsiteX25" fmla="*/ 7958430 w 8356899"/>
                <a:gd name="connsiteY25" fmla="*/ 3875662 h 8786914"/>
                <a:gd name="connsiteX26" fmla="*/ 8150935 w 8356899"/>
                <a:gd name="connsiteY26" fmla="*/ 3233978 h 8786914"/>
                <a:gd name="connsiteX27" fmla="*/ 8199062 w 8356899"/>
                <a:gd name="connsiteY27" fmla="*/ 2544168 h 8786914"/>
                <a:gd name="connsiteX28" fmla="*/ 8311356 w 8356899"/>
                <a:gd name="connsiteY28" fmla="*/ 1998736 h 8786914"/>
                <a:gd name="connsiteX29" fmla="*/ 8295314 w 8356899"/>
                <a:gd name="connsiteY29" fmla="*/ 747452 h 8786914"/>
                <a:gd name="connsiteX30" fmla="*/ 8327398 w 8356899"/>
                <a:gd name="connsiteY30" fmla="*/ 89725 h 8786914"/>
                <a:gd name="connsiteX31" fmla="*/ 8070725 w 8356899"/>
                <a:gd name="connsiteY31" fmla="*/ 153894 h 8786914"/>
                <a:gd name="connsiteX32" fmla="*/ 7429041 w 8356899"/>
                <a:gd name="connsiteY32" fmla="*/ 185978 h 8786914"/>
                <a:gd name="connsiteX33" fmla="*/ 6370262 w 8356899"/>
                <a:gd name="connsiteY33" fmla="*/ 137852 h 8786914"/>
                <a:gd name="connsiteX34" fmla="*/ 5311483 w 8356899"/>
                <a:gd name="connsiteY34" fmla="*/ 218062 h 8786914"/>
                <a:gd name="connsiteX35" fmla="*/ 4862304 w 8356899"/>
                <a:gd name="connsiteY35" fmla="*/ 105768 h 8786914"/>
                <a:gd name="connsiteX36" fmla="*/ 5124178 w 8356899"/>
                <a:gd name="connsiteY36" fmla="*/ 151032 h 8786914"/>
                <a:gd name="connsiteX37" fmla="*/ 4397083 w 8356899"/>
                <a:gd name="connsiteY37" fmla="*/ 41599 h 8786914"/>
                <a:gd name="connsiteX38" fmla="*/ 4605630 w 8356899"/>
                <a:gd name="connsiteY38" fmla="*/ 169936 h 8786914"/>
                <a:gd name="connsiteX39" fmla="*/ 4701883 w 8356899"/>
                <a:gd name="connsiteY39" fmla="*/ 153894 h 8786914"/>
                <a:gd name="connsiteX40" fmla="*/ 4669798 w 8356899"/>
                <a:gd name="connsiteY40" fmla="*/ 121810 h 8786914"/>
                <a:gd name="connsiteX41" fmla="*/ 4589588 w 8356899"/>
                <a:gd name="connsiteY41" fmla="*/ 73683 h 8786914"/>
                <a:gd name="connsiteX42" fmla="*/ 4685841 w 8356899"/>
                <a:gd name="connsiteY42" fmla="*/ 9515 h 8786914"/>
                <a:gd name="connsiteX0" fmla="*/ 3818274 w 7489332"/>
                <a:gd name="connsiteY0" fmla="*/ 9515 h 8383498"/>
                <a:gd name="connsiteX1" fmla="*/ 3818274 w 7489332"/>
                <a:gd name="connsiteY1" fmla="*/ 9515 h 8383498"/>
                <a:gd name="connsiteX2" fmla="*/ 3497431 w 7489332"/>
                <a:gd name="connsiteY2" fmla="*/ 282231 h 8383498"/>
                <a:gd name="connsiteX3" fmla="*/ 2518863 w 7489332"/>
                <a:gd name="connsiteY3" fmla="*/ 1661852 h 8383498"/>
                <a:gd name="connsiteX4" fmla="*/ 2101768 w 7489332"/>
                <a:gd name="connsiteY4" fmla="*/ 2848968 h 8383498"/>
                <a:gd name="connsiteX5" fmla="*/ 994863 w 7489332"/>
                <a:gd name="connsiteY5" fmla="*/ 4164420 h 8383498"/>
                <a:gd name="connsiteX6" fmla="*/ 834442 w 7489332"/>
                <a:gd name="connsiteY6" fmla="*/ 4405052 h 8383498"/>
                <a:gd name="connsiteX7" fmla="*/ 866526 w 7489332"/>
                <a:gd name="connsiteY7" fmla="*/ 5014652 h 8383498"/>
                <a:gd name="connsiteX8" fmla="*/ 256926 w 7489332"/>
                <a:gd name="connsiteY8" fmla="*/ 5929052 h 8383498"/>
                <a:gd name="connsiteX9" fmla="*/ 550143 w 7489332"/>
                <a:gd name="connsiteY9" fmla="*/ 7216635 h 8383498"/>
                <a:gd name="connsiteX10" fmla="*/ 253 w 7489332"/>
                <a:gd name="connsiteY10" fmla="*/ 7725768 h 8383498"/>
                <a:gd name="connsiteX11" fmla="*/ 632555 w 7489332"/>
                <a:gd name="connsiteY11" fmla="*/ 7287943 h 8383498"/>
                <a:gd name="connsiteX12" fmla="*/ 798918 w 7489332"/>
                <a:gd name="connsiteY12" fmla="*/ 7792101 h 8383498"/>
                <a:gd name="connsiteX13" fmla="*/ 958414 w 7489332"/>
                <a:gd name="connsiteY13" fmla="*/ 7639600 h 8383498"/>
                <a:gd name="connsiteX14" fmla="*/ 1605523 w 7489332"/>
                <a:gd name="connsiteY14" fmla="*/ 7849271 h 8383498"/>
                <a:gd name="connsiteX15" fmla="*/ 1936697 w 7489332"/>
                <a:gd name="connsiteY15" fmla="*/ 8059897 h 8383498"/>
                <a:gd name="connsiteX16" fmla="*/ 2013209 w 7489332"/>
                <a:gd name="connsiteY16" fmla="*/ 8149039 h 8383498"/>
                <a:gd name="connsiteX17" fmla="*/ 2133853 w 7489332"/>
                <a:gd name="connsiteY17" fmla="*/ 8383494 h 8383498"/>
                <a:gd name="connsiteX18" fmla="*/ 3978695 w 7489332"/>
                <a:gd name="connsiteY18" fmla="*/ 8142862 h 8383498"/>
                <a:gd name="connsiteX19" fmla="*/ 5904188 w 7489332"/>
                <a:gd name="connsiteY19" fmla="*/ 8032504 h 8383498"/>
                <a:gd name="connsiteX20" fmla="*/ 6365756 w 7489332"/>
                <a:gd name="connsiteY20" fmla="*/ 7318679 h 8383498"/>
                <a:gd name="connsiteX21" fmla="*/ 6694936 w 7489332"/>
                <a:gd name="connsiteY21" fmla="*/ 6417583 h 8383498"/>
                <a:gd name="connsiteX22" fmla="*/ 6718073 w 7489332"/>
                <a:gd name="connsiteY22" fmla="*/ 5844011 h 8383498"/>
                <a:gd name="connsiteX23" fmla="*/ 6760413 w 7489332"/>
                <a:gd name="connsiteY23" fmla="*/ 5505921 h 8383498"/>
                <a:gd name="connsiteX24" fmla="*/ 6759996 w 7489332"/>
                <a:gd name="connsiteY24" fmla="*/ 5143572 h 8383498"/>
                <a:gd name="connsiteX25" fmla="*/ 7090863 w 7489332"/>
                <a:gd name="connsiteY25" fmla="*/ 3875662 h 8383498"/>
                <a:gd name="connsiteX26" fmla="*/ 7283368 w 7489332"/>
                <a:gd name="connsiteY26" fmla="*/ 3233978 h 8383498"/>
                <a:gd name="connsiteX27" fmla="*/ 7331495 w 7489332"/>
                <a:gd name="connsiteY27" fmla="*/ 2544168 h 8383498"/>
                <a:gd name="connsiteX28" fmla="*/ 7443789 w 7489332"/>
                <a:gd name="connsiteY28" fmla="*/ 1998736 h 8383498"/>
                <a:gd name="connsiteX29" fmla="*/ 7427747 w 7489332"/>
                <a:gd name="connsiteY29" fmla="*/ 747452 h 8383498"/>
                <a:gd name="connsiteX30" fmla="*/ 7459831 w 7489332"/>
                <a:gd name="connsiteY30" fmla="*/ 89725 h 8383498"/>
                <a:gd name="connsiteX31" fmla="*/ 7203158 w 7489332"/>
                <a:gd name="connsiteY31" fmla="*/ 153894 h 8383498"/>
                <a:gd name="connsiteX32" fmla="*/ 6561474 w 7489332"/>
                <a:gd name="connsiteY32" fmla="*/ 185978 h 8383498"/>
                <a:gd name="connsiteX33" fmla="*/ 5502695 w 7489332"/>
                <a:gd name="connsiteY33" fmla="*/ 137852 h 8383498"/>
                <a:gd name="connsiteX34" fmla="*/ 4443916 w 7489332"/>
                <a:gd name="connsiteY34" fmla="*/ 218062 h 8383498"/>
                <a:gd name="connsiteX35" fmla="*/ 3994737 w 7489332"/>
                <a:gd name="connsiteY35" fmla="*/ 105768 h 8383498"/>
                <a:gd name="connsiteX36" fmla="*/ 4256611 w 7489332"/>
                <a:gd name="connsiteY36" fmla="*/ 151032 h 8383498"/>
                <a:gd name="connsiteX37" fmla="*/ 3529516 w 7489332"/>
                <a:gd name="connsiteY37" fmla="*/ 41599 h 8383498"/>
                <a:gd name="connsiteX38" fmla="*/ 3738063 w 7489332"/>
                <a:gd name="connsiteY38" fmla="*/ 169936 h 8383498"/>
                <a:gd name="connsiteX39" fmla="*/ 3834316 w 7489332"/>
                <a:gd name="connsiteY39" fmla="*/ 153894 h 8383498"/>
                <a:gd name="connsiteX40" fmla="*/ 3802231 w 7489332"/>
                <a:gd name="connsiteY40" fmla="*/ 121810 h 8383498"/>
                <a:gd name="connsiteX41" fmla="*/ 3722021 w 7489332"/>
                <a:gd name="connsiteY41" fmla="*/ 73683 h 8383498"/>
                <a:gd name="connsiteX42" fmla="*/ 3818274 w 7489332"/>
                <a:gd name="connsiteY42" fmla="*/ 9515 h 8383498"/>
                <a:gd name="connsiteX0" fmla="*/ 3573625 w 7244683"/>
                <a:gd name="connsiteY0" fmla="*/ 9515 h 8383498"/>
                <a:gd name="connsiteX1" fmla="*/ 3573625 w 7244683"/>
                <a:gd name="connsiteY1" fmla="*/ 9515 h 8383498"/>
                <a:gd name="connsiteX2" fmla="*/ 3252782 w 7244683"/>
                <a:gd name="connsiteY2" fmla="*/ 282231 h 8383498"/>
                <a:gd name="connsiteX3" fmla="*/ 2274214 w 7244683"/>
                <a:gd name="connsiteY3" fmla="*/ 1661852 h 8383498"/>
                <a:gd name="connsiteX4" fmla="*/ 1857119 w 7244683"/>
                <a:gd name="connsiteY4" fmla="*/ 2848968 h 8383498"/>
                <a:gd name="connsiteX5" fmla="*/ 750214 w 7244683"/>
                <a:gd name="connsiteY5" fmla="*/ 4164420 h 8383498"/>
                <a:gd name="connsiteX6" fmla="*/ 589793 w 7244683"/>
                <a:gd name="connsiteY6" fmla="*/ 4405052 h 8383498"/>
                <a:gd name="connsiteX7" fmla="*/ 621877 w 7244683"/>
                <a:gd name="connsiteY7" fmla="*/ 5014652 h 8383498"/>
                <a:gd name="connsiteX8" fmla="*/ 12277 w 7244683"/>
                <a:gd name="connsiteY8" fmla="*/ 5929052 h 8383498"/>
                <a:gd name="connsiteX9" fmla="*/ 305494 w 7244683"/>
                <a:gd name="connsiteY9" fmla="*/ 7216635 h 8383498"/>
                <a:gd name="connsiteX10" fmla="*/ 512288 w 7244683"/>
                <a:gd name="connsiteY10" fmla="*/ 7579134 h 8383498"/>
                <a:gd name="connsiteX11" fmla="*/ 387906 w 7244683"/>
                <a:gd name="connsiteY11" fmla="*/ 7287943 h 8383498"/>
                <a:gd name="connsiteX12" fmla="*/ 554269 w 7244683"/>
                <a:gd name="connsiteY12" fmla="*/ 7792101 h 8383498"/>
                <a:gd name="connsiteX13" fmla="*/ 713765 w 7244683"/>
                <a:gd name="connsiteY13" fmla="*/ 7639600 h 8383498"/>
                <a:gd name="connsiteX14" fmla="*/ 1360874 w 7244683"/>
                <a:gd name="connsiteY14" fmla="*/ 7849271 h 8383498"/>
                <a:gd name="connsiteX15" fmla="*/ 1692048 w 7244683"/>
                <a:gd name="connsiteY15" fmla="*/ 8059897 h 8383498"/>
                <a:gd name="connsiteX16" fmla="*/ 1768560 w 7244683"/>
                <a:gd name="connsiteY16" fmla="*/ 8149039 h 8383498"/>
                <a:gd name="connsiteX17" fmla="*/ 1889204 w 7244683"/>
                <a:gd name="connsiteY17" fmla="*/ 8383494 h 8383498"/>
                <a:gd name="connsiteX18" fmla="*/ 3734046 w 7244683"/>
                <a:gd name="connsiteY18" fmla="*/ 8142862 h 8383498"/>
                <a:gd name="connsiteX19" fmla="*/ 5659539 w 7244683"/>
                <a:gd name="connsiteY19" fmla="*/ 8032504 h 8383498"/>
                <a:gd name="connsiteX20" fmla="*/ 6121107 w 7244683"/>
                <a:gd name="connsiteY20" fmla="*/ 7318679 h 8383498"/>
                <a:gd name="connsiteX21" fmla="*/ 6450287 w 7244683"/>
                <a:gd name="connsiteY21" fmla="*/ 6417583 h 8383498"/>
                <a:gd name="connsiteX22" fmla="*/ 6473424 w 7244683"/>
                <a:gd name="connsiteY22" fmla="*/ 5844011 h 8383498"/>
                <a:gd name="connsiteX23" fmla="*/ 6515764 w 7244683"/>
                <a:gd name="connsiteY23" fmla="*/ 5505921 h 8383498"/>
                <a:gd name="connsiteX24" fmla="*/ 6515347 w 7244683"/>
                <a:gd name="connsiteY24" fmla="*/ 5143572 h 8383498"/>
                <a:gd name="connsiteX25" fmla="*/ 6846214 w 7244683"/>
                <a:gd name="connsiteY25" fmla="*/ 3875662 h 8383498"/>
                <a:gd name="connsiteX26" fmla="*/ 7038719 w 7244683"/>
                <a:gd name="connsiteY26" fmla="*/ 3233978 h 8383498"/>
                <a:gd name="connsiteX27" fmla="*/ 7086846 w 7244683"/>
                <a:gd name="connsiteY27" fmla="*/ 2544168 h 8383498"/>
                <a:gd name="connsiteX28" fmla="*/ 7199140 w 7244683"/>
                <a:gd name="connsiteY28" fmla="*/ 1998736 h 8383498"/>
                <a:gd name="connsiteX29" fmla="*/ 7183098 w 7244683"/>
                <a:gd name="connsiteY29" fmla="*/ 747452 h 8383498"/>
                <a:gd name="connsiteX30" fmla="*/ 7215182 w 7244683"/>
                <a:gd name="connsiteY30" fmla="*/ 89725 h 8383498"/>
                <a:gd name="connsiteX31" fmla="*/ 6958509 w 7244683"/>
                <a:gd name="connsiteY31" fmla="*/ 153894 h 8383498"/>
                <a:gd name="connsiteX32" fmla="*/ 6316825 w 7244683"/>
                <a:gd name="connsiteY32" fmla="*/ 185978 h 8383498"/>
                <a:gd name="connsiteX33" fmla="*/ 5258046 w 7244683"/>
                <a:gd name="connsiteY33" fmla="*/ 137852 h 8383498"/>
                <a:gd name="connsiteX34" fmla="*/ 4199267 w 7244683"/>
                <a:gd name="connsiteY34" fmla="*/ 218062 h 8383498"/>
                <a:gd name="connsiteX35" fmla="*/ 3750088 w 7244683"/>
                <a:gd name="connsiteY35" fmla="*/ 105768 h 8383498"/>
                <a:gd name="connsiteX36" fmla="*/ 4011962 w 7244683"/>
                <a:gd name="connsiteY36" fmla="*/ 151032 h 8383498"/>
                <a:gd name="connsiteX37" fmla="*/ 3284867 w 7244683"/>
                <a:gd name="connsiteY37" fmla="*/ 41599 h 8383498"/>
                <a:gd name="connsiteX38" fmla="*/ 3493414 w 7244683"/>
                <a:gd name="connsiteY38" fmla="*/ 169936 h 8383498"/>
                <a:gd name="connsiteX39" fmla="*/ 3589667 w 7244683"/>
                <a:gd name="connsiteY39" fmla="*/ 153894 h 8383498"/>
                <a:gd name="connsiteX40" fmla="*/ 3557582 w 7244683"/>
                <a:gd name="connsiteY40" fmla="*/ 121810 h 8383498"/>
                <a:gd name="connsiteX41" fmla="*/ 3477372 w 7244683"/>
                <a:gd name="connsiteY41" fmla="*/ 73683 h 8383498"/>
                <a:gd name="connsiteX42" fmla="*/ 3573625 w 7244683"/>
                <a:gd name="connsiteY42" fmla="*/ 9515 h 8383498"/>
                <a:gd name="connsiteX0" fmla="*/ 3573625 w 7206799"/>
                <a:gd name="connsiteY0" fmla="*/ 9515 h 8383498"/>
                <a:gd name="connsiteX1" fmla="*/ 3573625 w 7206799"/>
                <a:gd name="connsiteY1" fmla="*/ 9515 h 8383498"/>
                <a:gd name="connsiteX2" fmla="*/ 3252782 w 7206799"/>
                <a:gd name="connsiteY2" fmla="*/ 282231 h 8383498"/>
                <a:gd name="connsiteX3" fmla="*/ 2274214 w 7206799"/>
                <a:gd name="connsiteY3" fmla="*/ 1661852 h 8383498"/>
                <a:gd name="connsiteX4" fmla="*/ 1857119 w 7206799"/>
                <a:gd name="connsiteY4" fmla="*/ 2848968 h 8383498"/>
                <a:gd name="connsiteX5" fmla="*/ 750214 w 7206799"/>
                <a:gd name="connsiteY5" fmla="*/ 4164420 h 8383498"/>
                <a:gd name="connsiteX6" fmla="*/ 589793 w 7206799"/>
                <a:gd name="connsiteY6" fmla="*/ 4405052 h 8383498"/>
                <a:gd name="connsiteX7" fmla="*/ 621877 w 7206799"/>
                <a:gd name="connsiteY7" fmla="*/ 5014652 h 8383498"/>
                <a:gd name="connsiteX8" fmla="*/ 12277 w 7206799"/>
                <a:gd name="connsiteY8" fmla="*/ 5929052 h 8383498"/>
                <a:gd name="connsiteX9" fmla="*/ 305494 w 7206799"/>
                <a:gd name="connsiteY9" fmla="*/ 7216635 h 8383498"/>
                <a:gd name="connsiteX10" fmla="*/ 512288 w 7206799"/>
                <a:gd name="connsiteY10" fmla="*/ 7579134 h 8383498"/>
                <a:gd name="connsiteX11" fmla="*/ 387906 w 7206799"/>
                <a:gd name="connsiteY11" fmla="*/ 7287943 h 8383498"/>
                <a:gd name="connsiteX12" fmla="*/ 554269 w 7206799"/>
                <a:gd name="connsiteY12" fmla="*/ 7792101 h 8383498"/>
                <a:gd name="connsiteX13" fmla="*/ 713765 w 7206799"/>
                <a:gd name="connsiteY13" fmla="*/ 7639600 h 8383498"/>
                <a:gd name="connsiteX14" fmla="*/ 1360874 w 7206799"/>
                <a:gd name="connsiteY14" fmla="*/ 7849271 h 8383498"/>
                <a:gd name="connsiteX15" fmla="*/ 1692048 w 7206799"/>
                <a:gd name="connsiteY15" fmla="*/ 8059897 h 8383498"/>
                <a:gd name="connsiteX16" fmla="*/ 1768560 w 7206799"/>
                <a:gd name="connsiteY16" fmla="*/ 8149039 h 8383498"/>
                <a:gd name="connsiteX17" fmla="*/ 1889204 w 7206799"/>
                <a:gd name="connsiteY17" fmla="*/ 8383494 h 8383498"/>
                <a:gd name="connsiteX18" fmla="*/ 3734046 w 7206799"/>
                <a:gd name="connsiteY18" fmla="*/ 8142862 h 8383498"/>
                <a:gd name="connsiteX19" fmla="*/ 5659539 w 7206799"/>
                <a:gd name="connsiteY19" fmla="*/ 8032504 h 8383498"/>
                <a:gd name="connsiteX20" fmla="*/ 6121107 w 7206799"/>
                <a:gd name="connsiteY20" fmla="*/ 7318679 h 8383498"/>
                <a:gd name="connsiteX21" fmla="*/ 6450287 w 7206799"/>
                <a:gd name="connsiteY21" fmla="*/ 6417583 h 8383498"/>
                <a:gd name="connsiteX22" fmla="*/ 6473424 w 7206799"/>
                <a:gd name="connsiteY22" fmla="*/ 5844011 h 8383498"/>
                <a:gd name="connsiteX23" fmla="*/ 6515764 w 7206799"/>
                <a:gd name="connsiteY23" fmla="*/ 5505921 h 8383498"/>
                <a:gd name="connsiteX24" fmla="*/ 6515347 w 7206799"/>
                <a:gd name="connsiteY24" fmla="*/ 5143572 h 8383498"/>
                <a:gd name="connsiteX25" fmla="*/ 6846214 w 7206799"/>
                <a:gd name="connsiteY25" fmla="*/ 3875662 h 8383498"/>
                <a:gd name="connsiteX26" fmla="*/ 7038719 w 7206799"/>
                <a:gd name="connsiteY26" fmla="*/ 3233978 h 8383498"/>
                <a:gd name="connsiteX27" fmla="*/ 7086846 w 7206799"/>
                <a:gd name="connsiteY27" fmla="*/ 2544168 h 8383498"/>
                <a:gd name="connsiteX28" fmla="*/ 7199140 w 7206799"/>
                <a:gd name="connsiteY28" fmla="*/ 1998736 h 8383498"/>
                <a:gd name="connsiteX29" fmla="*/ 7183098 w 7206799"/>
                <a:gd name="connsiteY29" fmla="*/ 747452 h 8383498"/>
                <a:gd name="connsiteX30" fmla="*/ 6628747 w 7206799"/>
                <a:gd name="connsiteY30" fmla="*/ 925413 h 8383498"/>
                <a:gd name="connsiteX31" fmla="*/ 6958509 w 7206799"/>
                <a:gd name="connsiteY31" fmla="*/ 153894 h 8383498"/>
                <a:gd name="connsiteX32" fmla="*/ 6316825 w 7206799"/>
                <a:gd name="connsiteY32" fmla="*/ 185978 h 8383498"/>
                <a:gd name="connsiteX33" fmla="*/ 5258046 w 7206799"/>
                <a:gd name="connsiteY33" fmla="*/ 137852 h 8383498"/>
                <a:gd name="connsiteX34" fmla="*/ 4199267 w 7206799"/>
                <a:gd name="connsiteY34" fmla="*/ 218062 h 8383498"/>
                <a:gd name="connsiteX35" fmla="*/ 3750088 w 7206799"/>
                <a:gd name="connsiteY35" fmla="*/ 105768 h 8383498"/>
                <a:gd name="connsiteX36" fmla="*/ 4011962 w 7206799"/>
                <a:gd name="connsiteY36" fmla="*/ 151032 h 8383498"/>
                <a:gd name="connsiteX37" fmla="*/ 3284867 w 7206799"/>
                <a:gd name="connsiteY37" fmla="*/ 41599 h 8383498"/>
                <a:gd name="connsiteX38" fmla="*/ 3493414 w 7206799"/>
                <a:gd name="connsiteY38" fmla="*/ 169936 h 8383498"/>
                <a:gd name="connsiteX39" fmla="*/ 3589667 w 7206799"/>
                <a:gd name="connsiteY39" fmla="*/ 153894 h 8383498"/>
                <a:gd name="connsiteX40" fmla="*/ 3557582 w 7206799"/>
                <a:gd name="connsiteY40" fmla="*/ 121810 h 8383498"/>
                <a:gd name="connsiteX41" fmla="*/ 3477372 w 7206799"/>
                <a:gd name="connsiteY41" fmla="*/ 73683 h 8383498"/>
                <a:gd name="connsiteX42" fmla="*/ 3573625 w 7206799"/>
                <a:gd name="connsiteY42" fmla="*/ 9515 h 8383498"/>
                <a:gd name="connsiteX0" fmla="*/ 3573625 w 7206799"/>
                <a:gd name="connsiteY0" fmla="*/ 9515 h 8383498"/>
                <a:gd name="connsiteX1" fmla="*/ 3573625 w 7206799"/>
                <a:gd name="connsiteY1" fmla="*/ 9515 h 8383498"/>
                <a:gd name="connsiteX2" fmla="*/ 3252782 w 7206799"/>
                <a:gd name="connsiteY2" fmla="*/ 282231 h 8383498"/>
                <a:gd name="connsiteX3" fmla="*/ 2274214 w 7206799"/>
                <a:gd name="connsiteY3" fmla="*/ 1661852 h 8383498"/>
                <a:gd name="connsiteX4" fmla="*/ 1857119 w 7206799"/>
                <a:gd name="connsiteY4" fmla="*/ 2848968 h 8383498"/>
                <a:gd name="connsiteX5" fmla="*/ 750214 w 7206799"/>
                <a:gd name="connsiteY5" fmla="*/ 4164420 h 8383498"/>
                <a:gd name="connsiteX6" fmla="*/ 589793 w 7206799"/>
                <a:gd name="connsiteY6" fmla="*/ 4405052 h 8383498"/>
                <a:gd name="connsiteX7" fmla="*/ 621877 w 7206799"/>
                <a:gd name="connsiteY7" fmla="*/ 5014652 h 8383498"/>
                <a:gd name="connsiteX8" fmla="*/ 12277 w 7206799"/>
                <a:gd name="connsiteY8" fmla="*/ 5929052 h 8383498"/>
                <a:gd name="connsiteX9" fmla="*/ 305494 w 7206799"/>
                <a:gd name="connsiteY9" fmla="*/ 7216635 h 8383498"/>
                <a:gd name="connsiteX10" fmla="*/ 512288 w 7206799"/>
                <a:gd name="connsiteY10" fmla="*/ 7579134 h 8383498"/>
                <a:gd name="connsiteX11" fmla="*/ 387906 w 7206799"/>
                <a:gd name="connsiteY11" fmla="*/ 7287943 h 8383498"/>
                <a:gd name="connsiteX12" fmla="*/ 554269 w 7206799"/>
                <a:gd name="connsiteY12" fmla="*/ 7792101 h 8383498"/>
                <a:gd name="connsiteX13" fmla="*/ 713765 w 7206799"/>
                <a:gd name="connsiteY13" fmla="*/ 7639600 h 8383498"/>
                <a:gd name="connsiteX14" fmla="*/ 1360874 w 7206799"/>
                <a:gd name="connsiteY14" fmla="*/ 7849271 h 8383498"/>
                <a:gd name="connsiteX15" fmla="*/ 1692048 w 7206799"/>
                <a:gd name="connsiteY15" fmla="*/ 8059897 h 8383498"/>
                <a:gd name="connsiteX16" fmla="*/ 1768560 w 7206799"/>
                <a:gd name="connsiteY16" fmla="*/ 8149039 h 8383498"/>
                <a:gd name="connsiteX17" fmla="*/ 1889204 w 7206799"/>
                <a:gd name="connsiteY17" fmla="*/ 8383494 h 8383498"/>
                <a:gd name="connsiteX18" fmla="*/ 3734046 w 7206799"/>
                <a:gd name="connsiteY18" fmla="*/ 8142862 h 8383498"/>
                <a:gd name="connsiteX19" fmla="*/ 5659539 w 7206799"/>
                <a:gd name="connsiteY19" fmla="*/ 8032504 h 8383498"/>
                <a:gd name="connsiteX20" fmla="*/ 6121107 w 7206799"/>
                <a:gd name="connsiteY20" fmla="*/ 7318679 h 8383498"/>
                <a:gd name="connsiteX21" fmla="*/ 6450287 w 7206799"/>
                <a:gd name="connsiteY21" fmla="*/ 6417583 h 8383498"/>
                <a:gd name="connsiteX22" fmla="*/ 6473424 w 7206799"/>
                <a:gd name="connsiteY22" fmla="*/ 5844011 h 8383498"/>
                <a:gd name="connsiteX23" fmla="*/ 6515764 w 7206799"/>
                <a:gd name="connsiteY23" fmla="*/ 5505921 h 8383498"/>
                <a:gd name="connsiteX24" fmla="*/ 6515347 w 7206799"/>
                <a:gd name="connsiteY24" fmla="*/ 5143572 h 8383498"/>
                <a:gd name="connsiteX25" fmla="*/ 6846214 w 7206799"/>
                <a:gd name="connsiteY25" fmla="*/ 3875662 h 8383498"/>
                <a:gd name="connsiteX26" fmla="*/ 7038719 w 7206799"/>
                <a:gd name="connsiteY26" fmla="*/ 3233978 h 8383498"/>
                <a:gd name="connsiteX27" fmla="*/ 7086846 w 7206799"/>
                <a:gd name="connsiteY27" fmla="*/ 2544168 h 8383498"/>
                <a:gd name="connsiteX28" fmla="*/ 7199140 w 7206799"/>
                <a:gd name="connsiteY28" fmla="*/ 1998736 h 8383498"/>
                <a:gd name="connsiteX29" fmla="*/ 7183098 w 7206799"/>
                <a:gd name="connsiteY29" fmla="*/ 747452 h 8383498"/>
                <a:gd name="connsiteX30" fmla="*/ 6628747 w 7206799"/>
                <a:gd name="connsiteY30" fmla="*/ 925413 h 8383498"/>
                <a:gd name="connsiteX31" fmla="*/ 6309457 w 7206799"/>
                <a:gd name="connsiteY31" fmla="*/ 945338 h 8383498"/>
                <a:gd name="connsiteX32" fmla="*/ 6316825 w 7206799"/>
                <a:gd name="connsiteY32" fmla="*/ 185978 h 8383498"/>
                <a:gd name="connsiteX33" fmla="*/ 5258046 w 7206799"/>
                <a:gd name="connsiteY33" fmla="*/ 137852 h 8383498"/>
                <a:gd name="connsiteX34" fmla="*/ 4199267 w 7206799"/>
                <a:gd name="connsiteY34" fmla="*/ 218062 h 8383498"/>
                <a:gd name="connsiteX35" fmla="*/ 3750088 w 7206799"/>
                <a:gd name="connsiteY35" fmla="*/ 105768 h 8383498"/>
                <a:gd name="connsiteX36" fmla="*/ 4011962 w 7206799"/>
                <a:gd name="connsiteY36" fmla="*/ 151032 h 8383498"/>
                <a:gd name="connsiteX37" fmla="*/ 3284867 w 7206799"/>
                <a:gd name="connsiteY37" fmla="*/ 41599 h 8383498"/>
                <a:gd name="connsiteX38" fmla="*/ 3493414 w 7206799"/>
                <a:gd name="connsiteY38" fmla="*/ 169936 h 8383498"/>
                <a:gd name="connsiteX39" fmla="*/ 3589667 w 7206799"/>
                <a:gd name="connsiteY39" fmla="*/ 153894 h 8383498"/>
                <a:gd name="connsiteX40" fmla="*/ 3557582 w 7206799"/>
                <a:gd name="connsiteY40" fmla="*/ 121810 h 8383498"/>
                <a:gd name="connsiteX41" fmla="*/ 3477372 w 7206799"/>
                <a:gd name="connsiteY41" fmla="*/ 73683 h 8383498"/>
                <a:gd name="connsiteX42" fmla="*/ 3573625 w 7206799"/>
                <a:gd name="connsiteY42" fmla="*/ 9515 h 8383498"/>
                <a:gd name="connsiteX0" fmla="*/ 3573625 w 7206799"/>
                <a:gd name="connsiteY0" fmla="*/ 9515 h 8383498"/>
                <a:gd name="connsiteX1" fmla="*/ 3573625 w 7206799"/>
                <a:gd name="connsiteY1" fmla="*/ 9515 h 8383498"/>
                <a:gd name="connsiteX2" fmla="*/ 3252782 w 7206799"/>
                <a:gd name="connsiteY2" fmla="*/ 282231 h 8383498"/>
                <a:gd name="connsiteX3" fmla="*/ 2274214 w 7206799"/>
                <a:gd name="connsiteY3" fmla="*/ 1661852 h 8383498"/>
                <a:gd name="connsiteX4" fmla="*/ 1857119 w 7206799"/>
                <a:gd name="connsiteY4" fmla="*/ 2848968 h 8383498"/>
                <a:gd name="connsiteX5" fmla="*/ 750214 w 7206799"/>
                <a:gd name="connsiteY5" fmla="*/ 4164420 h 8383498"/>
                <a:gd name="connsiteX6" fmla="*/ 589793 w 7206799"/>
                <a:gd name="connsiteY6" fmla="*/ 4405052 h 8383498"/>
                <a:gd name="connsiteX7" fmla="*/ 621877 w 7206799"/>
                <a:gd name="connsiteY7" fmla="*/ 5014652 h 8383498"/>
                <a:gd name="connsiteX8" fmla="*/ 12277 w 7206799"/>
                <a:gd name="connsiteY8" fmla="*/ 5929052 h 8383498"/>
                <a:gd name="connsiteX9" fmla="*/ 305494 w 7206799"/>
                <a:gd name="connsiteY9" fmla="*/ 7216635 h 8383498"/>
                <a:gd name="connsiteX10" fmla="*/ 512288 w 7206799"/>
                <a:gd name="connsiteY10" fmla="*/ 7579134 h 8383498"/>
                <a:gd name="connsiteX11" fmla="*/ 387906 w 7206799"/>
                <a:gd name="connsiteY11" fmla="*/ 7287943 h 8383498"/>
                <a:gd name="connsiteX12" fmla="*/ 554269 w 7206799"/>
                <a:gd name="connsiteY12" fmla="*/ 7792101 h 8383498"/>
                <a:gd name="connsiteX13" fmla="*/ 713765 w 7206799"/>
                <a:gd name="connsiteY13" fmla="*/ 7639600 h 8383498"/>
                <a:gd name="connsiteX14" fmla="*/ 1360874 w 7206799"/>
                <a:gd name="connsiteY14" fmla="*/ 7849271 h 8383498"/>
                <a:gd name="connsiteX15" fmla="*/ 1692048 w 7206799"/>
                <a:gd name="connsiteY15" fmla="*/ 8059897 h 8383498"/>
                <a:gd name="connsiteX16" fmla="*/ 1768560 w 7206799"/>
                <a:gd name="connsiteY16" fmla="*/ 8149039 h 8383498"/>
                <a:gd name="connsiteX17" fmla="*/ 1889204 w 7206799"/>
                <a:gd name="connsiteY17" fmla="*/ 8383494 h 8383498"/>
                <a:gd name="connsiteX18" fmla="*/ 3734046 w 7206799"/>
                <a:gd name="connsiteY18" fmla="*/ 8142862 h 8383498"/>
                <a:gd name="connsiteX19" fmla="*/ 5659539 w 7206799"/>
                <a:gd name="connsiteY19" fmla="*/ 8032504 h 8383498"/>
                <a:gd name="connsiteX20" fmla="*/ 6121107 w 7206799"/>
                <a:gd name="connsiteY20" fmla="*/ 7318679 h 8383498"/>
                <a:gd name="connsiteX21" fmla="*/ 6450287 w 7206799"/>
                <a:gd name="connsiteY21" fmla="*/ 6417583 h 8383498"/>
                <a:gd name="connsiteX22" fmla="*/ 6473424 w 7206799"/>
                <a:gd name="connsiteY22" fmla="*/ 5844011 h 8383498"/>
                <a:gd name="connsiteX23" fmla="*/ 6515764 w 7206799"/>
                <a:gd name="connsiteY23" fmla="*/ 5505921 h 8383498"/>
                <a:gd name="connsiteX24" fmla="*/ 6515347 w 7206799"/>
                <a:gd name="connsiteY24" fmla="*/ 5143572 h 8383498"/>
                <a:gd name="connsiteX25" fmla="*/ 6846214 w 7206799"/>
                <a:gd name="connsiteY25" fmla="*/ 3875662 h 8383498"/>
                <a:gd name="connsiteX26" fmla="*/ 7038719 w 7206799"/>
                <a:gd name="connsiteY26" fmla="*/ 3233978 h 8383498"/>
                <a:gd name="connsiteX27" fmla="*/ 7086846 w 7206799"/>
                <a:gd name="connsiteY27" fmla="*/ 2544168 h 8383498"/>
                <a:gd name="connsiteX28" fmla="*/ 7199140 w 7206799"/>
                <a:gd name="connsiteY28" fmla="*/ 1998736 h 8383498"/>
                <a:gd name="connsiteX29" fmla="*/ 7183098 w 7206799"/>
                <a:gd name="connsiteY29" fmla="*/ 747452 h 8383498"/>
                <a:gd name="connsiteX30" fmla="*/ 6628747 w 7206799"/>
                <a:gd name="connsiteY30" fmla="*/ 925413 h 8383498"/>
                <a:gd name="connsiteX31" fmla="*/ 6309457 w 7206799"/>
                <a:gd name="connsiteY31" fmla="*/ 945338 h 8383498"/>
                <a:gd name="connsiteX32" fmla="*/ 6219743 w 7206799"/>
                <a:gd name="connsiteY32" fmla="*/ 786150 h 8383498"/>
                <a:gd name="connsiteX33" fmla="*/ 5258046 w 7206799"/>
                <a:gd name="connsiteY33" fmla="*/ 137852 h 8383498"/>
                <a:gd name="connsiteX34" fmla="*/ 4199267 w 7206799"/>
                <a:gd name="connsiteY34" fmla="*/ 218062 h 8383498"/>
                <a:gd name="connsiteX35" fmla="*/ 3750088 w 7206799"/>
                <a:gd name="connsiteY35" fmla="*/ 105768 h 8383498"/>
                <a:gd name="connsiteX36" fmla="*/ 4011962 w 7206799"/>
                <a:gd name="connsiteY36" fmla="*/ 151032 h 8383498"/>
                <a:gd name="connsiteX37" fmla="*/ 3284867 w 7206799"/>
                <a:gd name="connsiteY37" fmla="*/ 41599 h 8383498"/>
                <a:gd name="connsiteX38" fmla="*/ 3493414 w 7206799"/>
                <a:gd name="connsiteY38" fmla="*/ 169936 h 8383498"/>
                <a:gd name="connsiteX39" fmla="*/ 3589667 w 7206799"/>
                <a:gd name="connsiteY39" fmla="*/ 153894 h 8383498"/>
                <a:gd name="connsiteX40" fmla="*/ 3557582 w 7206799"/>
                <a:gd name="connsiteY40" fmla="*/ 121810 h 8383498"/>
                <a:gd name="connsiteX41" fmla="*/ 3477372 w 7206799"/>
                <a:gd name="connsiteY41" fmla="*/ 73683 h 8383498"/>
                <a:gd name="connsiteX42" fmla="*/ 3573625 w 7206799"/>
                <a:gd name="connsiteY42" fmla="*/ 9515 h 8383498"/>
                <a:gd name="connsiteX0" fmla="*/ 3573625 w 7203108"/>
                <a:gd name="connsiteY0" fmla="*/ 9515 h 8383498"/>
                <a:gd name="connsiteX1" fmla="*/ 3573625 w 7203108"/>
                <a:gd name="connsiteY1" fmla="*/ 9515 h 8383498"/>
                <a:gd name="connsiteX2" fmla="*/ 3252782 w 7203108"/>
                <a:gd name="connsiteY2" fmla="*/ 282231 h 8383498"/>
                <a:gd name="connsiteX3" fmla="*/ 2274214 w 7203108"/>
                <a:gd name="connsiteY3" fmla="*/ 1661852 h 8383498"/>
                <a:gd name="connsiteX4" fmla="*/ 1857119 w 7203108"/>
                <a:gd name="connsiteY4" fmla="*/ 2848968 h 8383498"/>
                <a:gd name="connsiteX5" fmla="*/ 750214 w 7203108"/>
                <a:gd name="connsiteY5" fmla="*/ 4164420 h 8383498"/>
                <a:gd name="connsiteX6" fmla="*/ 589793 w 7203108"/>
                <a:gd name="connsiteY6" fmla="*/ 4405052 h 8383498"/>
                <a:gd name="connsiteX7" fmla="*/ 621877 w 7203108"/>
                <a:gd name="connsiteY7" fmla="*/ 5014652 h 8383498"/>
                <a:gd name="connsiteX8" fmla="*/ 12277 w 7203108"/>
                <a:gd name="connsiteY8" fmla="*/ 5929052 h 8383498"/>
                <a:gd name="connsiteX9" fmla="*/ 305494 w 7203108"/>
                <a:gd name="connsiteY9" fmla="*/ 7216635 h 8383498"/>
                <a:gd name="connsiteX10" fmla="*/ 512288 w 7203108"/>
                <a:gd name="connsiteY10" fmla="*/ 7579134 h 8383498"/>
                <a:gd name="connsiteX11" fmla="*/ 387906 w 7203108"/>
                <a:gd name="connsiteY11" fmla="*/ 7287943 h 8383498"/>
                <a:gd name="connsiteX12" fmla="*/ 554269 w 7203108"/>
                <a:gd name="connsiteY12" fmla="*/ 7792101 h 8383498"/>
                <a:gd name="connsiteX13" fmla="*/ 713765 w 7203108"/>
                <a:gd name="connsiteY13" fmla="*/ 7639600 h 8383498"/>
                <a:gd name="connsiteX14" fmla="*/ 1360874 w 7203108"/>
                <a:gd name="connsiteY14" fmla="*/ 7849271 h 8383498"/>
                <a:gd name="connsiteX15" fmla="*/ 1692048 w 7203108"/>
                <a:gd name="connsiteY15" fmla="*/ 8059897 h 8383498"/>
                <a:gd name="connsiteX16" fmla="*/ 1768560 w 7203108"/>
                <a:gd name="connsiteY16" fmla="*/ 8149039 h 8383498"/>
                <a:gd name="connsiteX17" fmla="*/ 1889204 w 7203108"/>
                <a:gd name="connsiteY17" fmla="*/ 8383494 h 8383498"/>
                <a:gd name="connsiteX18" fmla="*/ 3734046 w 7203108"/>
                <a:gd name="connsiteY18" fmla="*/ 8142862 h 8383498"/>
                <a:gd name="connsiteX19" fmla="*/ 5659539 w 7203108"/>
                <a:gd name="connsiteY19" fmla="*/ 8032504 h 8383498"/>
                <a:gd name="connsiteX20" fmla="*/ 6121107 w 7203108"/>
                <a:gd name="connsiteY20" fmla="*/ 7318679 h 8383498"/>
                <a:gd name="connsiteX21" fmla="*/ 6450287 w 7203108"/>
                <a:gd name="connsiteY21" fmla="*/ 6417583 h 8383498"/>
                <a:gd name="connsiteX22" fmla="*/ 6473424 w 7203108"/>
                <a:gd name="connsiteY22" fmla="*/ 5844011 h 8383498"/>
                <a:gd name="connsiteX23" fmla="*/ 6515764 w 7203108"/>
                <a:gd name="connsiteY23" fmla="*/ 5505921 h 8383498"/>
                <a:gd name="connsiteX24" fmla="*/ 6515347 w 7203108"/>
                <a:gd name="connsiteY24" fmla="*/ 5143572 h 8383498"/>
                <a:gd name="connsiteX25" fmla="*/ 6846214 w 7203108"/>
                <a:gd name="connsiteY25" fmla="*/ 3875662 h 8383498"/>
                <a:gd name="connsiteX26" fmla="*/ 7038719 w 7203108"/>
                <a:gd name="connsiteY26" fmla="*/ 3233978 h 8383498"/>
                <a:gd name="connsiteX27" fmla="*/ 7086846 w 7203108"/>
                <a:gd name="connsiteY27" fmla="*/ 2544168 h 8383498"/>
                <a:gd name="connsiteX28" fmla="*/ 7199140 w 7203108"/>
                <a:gd name="connsiteY28" fmla="*/ 1998736 h 8383498"/>
                <a:gd name="connsiteX29" fmla="*/ 6927213 w 7203108"/>
                <a:gd name="connsiteY29" fmla="*/ 1341677 h 8383498"/>
                <a:gd name="connsiteX30" fmla="*/ 6628747 w 7203108"/>
                <a:gd name="connsiteY30" fmla="*/ 925413 h 8383498"/>
                <a:gd name="connsiteX31" fmla="*/ 6309457 w 7203108"/>
                <a:gd name="connsiteY31" fmla="*/ 945338 h 8383498"/>
                <a:gd name="connsiteX32" fmla="*/ 6219743 w 7203108"/>
                <a:gd name="connsiteY32" fmla="*/ 786150 h 8383498"/>
                <a:gd name="connsiteX33" fmla="*/ 5258046 w 7203108"/>
                <a:gd name="connsiteY33" fmla="*/ 137852 h 8383498"/>
                <a:gd name="connsiteX34" fmla="*/ 4199267 w 7203108"/>
                <a:gd name="connsiteY34" fmla="*/ 218062 h 8383498"/>
                <a:gd name="connsiteX35" fmla="*/ 3750088 w 7203108"/>
                <a:gd name="connsiteY35" fmla="*/ 105768 h 8383498"/>
                <a:gd name="connsiteX36" fmla="*/ 4011962 w 7203108"/>
                <a:gd name="connsiteY36" fmla="*/ 151032 h 8383498"/>
                <a:gd name="connsiteX37" fmla="*/ 3284867 w 7203108"/>
                <a:gd name="connsiteY37" fmla="*/ 41599 h 8383498"/>
                <a:gd name="connsiteX38" fmla="*/ 3493414 w 7203108"/>
                <a:gd name="connsiteY38" fmla="*/ 169936 h 8383498"/>
                <a:gd name="connsiteX39" fmla="*/ 3589667 w 7203108"/>
                <a:gd name="connsiteY39" fmla="*/ 153894 h 8383498"/>
                <a:gd name="connsiteX40" fmla="*/ 3557582 w 7203108"/>
                <a:gd name="connsiteY40" fmla="*/ 121810 h 8383498"/>
                <a:gd name="connsiteX41" fmla="*/ 3477372 w 7203108"/>
                <a:gd name="connsiteY41" fmla="*/ 73683 h 8383498"/>
                <a:gd name="connsiteX42" fmla="*/ 3573625 w 7203108"/>
                <a:gd name="connsiteY42" fmla="*/ 9515 h 8383498"/>
                <a:gd name="connsiteX0" fmla="*/ 3573625 w 7203108"/>
                <a:gd name="connsiteY0" fmla="*/ 9515 h 8383498"/>
                <a:gd name="connsiteX1" fmla="*/ 3573625 w 7203108"/>
                <a:gd name="connsiteY1" fmla="*/ 9515 h 8383498"/>
                <a:gd name="connsiteX2" fmla="*/ 3252782 w 7203108"/>
                <a:gd name="connsiteY2" fmla="*/ 282231 h 8383498"/>
                <a:gd name="connsiteX3" fmla="*/ 2274214 w 7203108"/>
                <a:gd name="connsiteY3" fmla="*/ 1661852 h 8383498"/>
                <a:gd name="connsiteX4" fmla="*/ 1857119 w 7203108"/>
                <a:gd name="connsiteY4" fmla="*/ 2848968 h 8383498"/>
                <a:gd name="connsiteX5" fmla="*/ 750214 w 7203108"/>
                <a:gd name="connsiteY5" fmla="*/ 4164420 h 8383498"/>
                <a:gd name="connsiteX6" fmla="*/ 589793 w 7203108"/>
                <a:gd name="connsiteY6" fmla="*/ 4405052 h 8383498"/>
                <a:gd name="connsiteX7" fmla="*/ 809284 w 7203108"/>
                <a:gd name="connsiteY7" fmla="*/ 5428322 h 8383498"/>
                <a:gd name="connsiteX8" fmla="*/ 12277 w 7203108"/>
                <a:gd name="connsiteY8" fmla="*/ 5929052 h 8383498"/>
                <a:gd name="connsiteX9" fmla="*/ 305494 w 7203108"/>
                <a:gd name="connsiteY9" fmla="*/ 7216635 h 8383498"/>
                <a:gd name="connsiteX10" fmla="*/ 512288 w 7203108"/>
                <a:gd name="connsiteY10" fmla="*/ 7579134 h 8383498"/>
                <a:gd name="connsiteX11" fmla="*/ 387906 w 7203108"/>
                <a:gd name="connsiteY11" fmla="*/ 7287943 h 8383498"/>
                <a:gd name="connsiteX12" fmla="*/ 554269 w 7203108"/>
                <a:gd name="connsiteY12" fmla="*/ 7792101 h 8383498"/>
                <a:gd name="connsiteX13" fmla="*/ 713765 w 7203108"/>
                <a:gd name="connsiteY13" fmla="*/ 7639600 h 8383498"/>
                <a:gd name="connsiteX14" fmla="*/ 1360874 w 7203108"/>
                <a:gd name="connsiteY14" fmla="*/ 7849271 h 8383498"/>
                <a:gd name="connsiteX15" fmla="*/ 1692048 w 7203108"/>
                <a:gd name="connsiteY15" fmla="*/ 8059897 h 8383498"/>
                <a:gd name="connsiteX16" fmla="*/ 1768560 w 7203108"/>
                <a:gd name="connsiteY16" fmla="*/ 8149039 h 8383498"/>
                <a:gd name="connsiteX17" fmla="*/ 1889204 w 7203108"/>
                <a:gd name="connsiteY17" fmla="*/ 8383494 h 8383498"/>
                <a:gd name="connsiteX18" fmla="*/ 3734046 w 7203108"/>
                <a:gd name="connsiteY18" fmla="*/ 8142862 h 8383498"/>
                <a:gd name="connsiteX19" fmla="*/ 5659539 w 7203108"/>
                <a:gd name="connsiteY19" fmla="*/ 8032504 h 8383498"/>
                <a:gd name="connsiteX20" fmla="*/ 6121107 w 7203108"/>
                <a:gd name="connsiteY20" fmla="*/ 7318679 h 8383498"/>
                <a:gd name="connsiteX21" fmla="*/ 6450287 w 7203108"/>
                <a:gd name="connsiteY21" fmla="*/ 6417583 h 8383498"/>
                <a:gd name="connsiteX22" fmla="*/ 6473424 w 7203108"/>
                <a:gd name="connsiteY22" fmla="*/ 5844011 h 8383498"/>
                <a:gd name="connsiteX23" fmla="*/ 6515764 w 7203108"/>
                <a:gd name="connsiteY23" fmla="*/ 5505921 h 8383498"/>
                <a:gd name="connsiteX24" fmla="*/ 6515347 w 7203108"/>
                <a:gd name="connsiteY24" fmla="*/ 5143572 h 8383498"/>
                <a:gd name="connsiteX25" fmla="*/ 6846214 w 7203108"/>
                <a:gd name="connsiteY25" fmla="*/ 3875662 h 8383498"/>
                <a:gd name="connsiteX26" fmla="*/ 7038719 w 7203108"/>
                <a:gd name="connsiteY26" fmla="*/ 3233978 h 8383498"/>
                <a:gd name="connsiteX27" fmla="*/ 7086846 w 7203108"/>
                <a:gd name="connsiteY27" fmla="*/ 2544168 h 8383498"/>
                <a:gd name="connsiteX28" fmla="*/ 7199140 w 7203108"/>
                <a:gd name="connsiteY28" fmla="*/ 1998736 h 8383498"/>
                <a:gd name="connsiteX29" fmla="*/ 6927213 w 7203108"/>
                <a:gd name="connsiteY29" fmla="*/ 1341677 h 8383498"/>
                <a:gd name="connsiteX30" fmla="*/ 6628747 w 7203108"/>
                <a:gd name="connsiteY30" fmla="*/ 925413 h 8383498"/>
                <a:gd name="connsiteX31" fmla="*/ 6309457 w 7203108"/>
                <a:gd name="connsiteY31" fmla="*/ 945338 h 8383498"/>
                <a:gd name="connsiteX32" fmla="*/ 6219743 w 7203108"/>
                <a:gd name="connsiteY32" fmla="*/ 786150 h 8383498"/>
                <a:gd name="connsiteX33" fmla="*/ 5258046 w 7203108"/>
                <a:gd name="connsiteY33" fmla="*/ 137852 h 8383498"/>
                <a:gd name="connsiteX34" fmla="*/ 4199267 w 7203108"/>
                <a:gd name="connsiteY34" fmla="*/ 218062 h 8383498"/>
                <a:gd name="connsiteX35" fmla="*/ 3750088 w 7203108"/>
                <a:gd name="connsiteY35" fmla="*/ 105768 h 8383498"/>
                <a:gd name="connsiteX36" fmla="*/ 4011962 w 7203108"/>
                <a:gd name="connsiteY36" fmla="*/ 151032 h 8383498"/>
                <a:gd name="connsiteX37" fmla="*/ 3284867 w 7203108"/>
                <a:gd name="connsiteY37" fmla="*/ 41599 h 8383498"/>
                <a:gd name="connsiteX38" fmla="*/ 3493414 w 7203108"/>
                <a:gd name="connsiteY38" fmla="*/ 169936 h 8383498"/>
                <a:gd name="connsiteX39" fmla="*/ 3589667 w 7203108"/>
                <a:gd name="connsiteY39" fmla="*/ 153894 h 8383498"/>
                <a:gd name="connsiteX40" fmla="*/ 3557582 w 7203108"/>
                <a:gd name="connsiteY40" fmla="*/ 121810 h 8383498"/>
                <a:gd name="connsiteX41" fmla="*/ 3477372 w 7203108"/>
                <a:gd name="connsiteY41" fmla="*/ 73683 h 8383498"/>
                <a:gd name="connsiteX42" fmla="*/ 3573625 w 7203108"/>
                <a:gd name="connsiteY42" fmla="*/ 9515 h 8383498"/>
                <a:gd name="connsiteX0" fmla="*/ 3573625 w 7203108"/>
                <a:gd name="connsiteY0" fmla="*/ 9515 h 8383498"/>
                <a:gd name="connsiteX1" fmla="*/ 3573625 w 7203108"/>
                <a:gd name="connsiteY1" fmla="*/ 9515 h 8383498"/>
                <a:gd name="connsiteX2" fmla="*/ 3252782 w 7203108"/>
                <a:gd name="connsiteY2" fmla="*/ 282231 h 8383498"/>
                <a:gd name="connsiteX3" fmla="*/ 2274214 w 7203108"/>
                <a:gd name="connsiteY3" fmla="*/ 1661852 h 8383498"/>
                <a:gd name="connsiteX4" fmla="*/ 2229514 w 7203108"/>
                <a:gd name="connsiteY4" fmla="*/ 2574568 h 8383498"/>
                <a:gd name="connsiteX5" fmla="*/ 750214 w 7203108"/>
                <a:gd name="connsiteY5" fmla="*/ 4164420 h 8383498"/>
                <a:gd name="connsiteX6" fmla="*/ 589793 w 7203108"/>
                <a:gd name="connsiteY6" fmla="*/ 4405052 h 8383498"/>
                <a:gd name="connsiteX7" fmla="*/ 809284 w 7203108"/>
                <a:gd name="connsiteY7" fmla="*/ 5428322 h 8383498"/>
                <a:gd name="connsiteX8" fmla="*/ 12277 w 7203108"/>
                <a:gd name="connsiteY8" fmla="*/ 5929052 h 8383498"/>
                <a:gd name="connsiteX9" fmla="*/ 305494 w 7203108"/>
                <a:gd name="connsiteY9" fmla="*/ 7216635 h 8383498"/>
                <a:gd name="connsiteX10" fmla="*/ 512288 w 7203108"/>
                <a:gd name="connsiteY10" fmla="*/ 7579134 h 8383498"/>
                <a:gd name="connsiteX11" fmla="*/ 387906 w 7203108"/>
                <a:gd name="connsiteY11" fmla="*/ 7287943 h 8383498"/>
                <a:gd name="connsiteX12" fmla="*/ 554269 w 7203108"/>
                <a:gd name="connsiteY12" fmla="*/ 7792101 h 8383498"/>
                <a:gd name="connsiteX13" fmla="*/ 713765 w 7203108"/>
                <a:gd name="connsiteY13" fmla="*/ 7639600 h 8383498"/>
                <a:gd name="connsiteX14" fmla="*/ 1360874 w 7203108"/>
                <a:gd name="connsiteY14" fmla="*/ 7849271 h 8383498"/>
                <a:gd name="connsiteX15" fmla="*/ 1692048 w 7203108"/>
                <a:gd name="connsiteY15" fmla="*/ 8059897 h 8383498"/>
                <a:gd name="connsiteX16" fmla="*/ 1768560 w 7203108"/>
                <a:gd name="connsiteY16" fmla="*/ 8149039 h 8383498"/>
                <a:gd name="connsiteX17" fmla="*/ 1889204 w 7203108"/>
                <a:gd name="connsiteY17" fmla="*/ 8383494 h 8383498"/>
                <a:gd name="connsiteX18" fmla="*/ 3734046 w 7203108"/>
                <a:gd name="connsiteY18" fmla="*/ 8142862 h 8383498"/>
                <a:gd name="connsiteX19" fmla="*/ 5659539 w 7203108"/>
                <a:gd name="connsiteY19" fmla="*/ 8032504 h 8383498"/>
                <a:gd name="connsiteX20" fmla="*/ 6121107 w 7203108"/>
                <a:gd name="connsiteY20" fmla="*/ 7318679 h 8383498"/>
                <a:gd name="connsiteX21" fmla="*/ 6450287 w 7203108"/>
                <a:gd name="connsiteY21" fmla="*/ 6417583 h 8383498"/>
                <a:gd name="connsiteX22" fmla="*/ 6473424 w 7203108"/>
                <a:gd name="connsiteY22" fmla="*/ 5844011 h 8383498"/>
                <a:gd name="connsiteX23" fmla="*/ 6515764 w 7203108"/>
                <a:gd name="connsiteY23" fmla="*/ 5505921 h 8383498"/>
                <a:gd name="connsiteX24" fmla="*/ 6515347 w 7203108"/>
                <a:gd name="connsiteY24" fmla="*/ 5143572 h 8383498"/>
                <a:gd name="connsiteX25" fmla="*/ 6846214 w 7203108"/>
                <a:gd name="connsiteY25" fmla="*/ 3875662 h 8383498"/>
                <a:gd name="connsiteX26" fmla="*/ 7038719 w 7203108"/>
                <a:gd name="connsiteY26" fmla="*/ 3233978 h 8383498"/>
                <a:gd name="connsiteX27" fmla="*/ 7086846 w 7203108"/>
                <a:gd name="connsiteY27" fmla="*/ 2544168 h 8383498"/>
                <a:gd name="connsiteX28" fmla="*/ 7199140 w 7203108"/>
                <a:gd name="connsiteY28" fmla="*/ 1998736 h 8383498"/>
                <a:gd name="connsiteX29" fmla="*/ 6927213 w 7203108"/>
                <a:gd name="connsiteY29" fmla="*/ 1341677 h 8383498"/>
                <a:gd name="connsiteX30" fmla="*/ 6628747 w 7203108"/>
                <a:gd name="connsiteY30" fmla="*/ 925413 h 8383498"/>
                <a:gd name="connsiteX31" fmla="*/ 6309457 w 7203108"/>
                <a:gd name="connsiteY31" fmla="*/ 945338 h 8383498"/>
                <a:gd name="connsiteX32" fmla="*/ 6219743 w 7203108"/>
                <a:gd name="connsiteY32" fmla="*/ 786150 h 8383498"/>
                <a:gd name="connsiteX33" fmla="*/ 5258046 w 7203108"/>
                <a:gd name="connsiteY33" fmla="*/ 137852 h 8383498"/>
                <a:gd name="connsiteX34" fmla="*/ 4199267 w 7203108"/>
                <a:gd name="connsiteY34" fmla="*/ 218062 h 8383498"/>
                <a:gd name="connsiteX35" fmla="*/ 3750088 w 7203108"/>
                <a:gd name="connsiteY35" fmla="*/ 105768 h 8383498"/>
                <a:gd name="connsiteX36" fmla="*/ 4011962 w 7203108"/>
                <a:gd name="connsiteY36" fmla="*/ 151032 h 8383498"/>
                <a:gd name="connsiteX37" fmla="*/ 3284867 w 7203108"/>
                <a:gd name="connsiteY37" fmla="*/ 41599 h 8383498"/>
                <a:gd name="connsiteX38" fmla="*/ 3493414 w 7203108"/>
                <a:gd name="connsiteY38" fmla="*/ 169936 h 8383498"/>
                <a:gd name="connsiteX39" fmla="*/ 3589667 w 7203108"/>
                <a:gd name="connsiteY39" fmla="*/ 153894 h 8383498"/>
                <a:gd name="connsiteX40" fmla="*/ 3557582 w 7203108"/>
                <a:gd name="connsiteY40" fmla="*/ 121810 h 8383498"/>
                <a:gd name="connsiteX41" fmla="*/ 3477372 w 7203108"/>
                <a:gd name="connsiteY41" fmla="*/ 73683 h 8383498"/>
                <a:gd name="connsiteX42" fmla="*/ 3573625 w 7203108"/>
                <a:gd name="connsiteY42" fmla="*/ 9515 h 8383498"/>
                <a:gd name="connsiteX0" fmla="*/ 3573625 w 7203108"/>
                <a:gd name="connsiteY0" fmla="*/ 9515 h 8383498"/>
                <a:gd name="connsiteX1" fmla="*/ 3573625 w 7203108"/>
                <a:gd name="connsiteY1" fmla="*/ 9515 h 8383498"/>
                <a:gd name="connsiteX2" fmla="*/ 3252782 w 7203108"/>
                <a:gd name="connsiteY2" fmla="*/ 282231 h 8383498"/>
                <a:gd name="connsiteX3" fmla="*/ 2333216 w 7203108"/>
                <a:gd name="connsiteY3" fmla="*/ 1353530 h 8383498"/>
                <a:gd name="connsiteX4" fmla="*/ 2229514 w 7203108"/>
                <a:gd name="connsiteY4" fmla="*/ 2574568 h 8383498"/>
                <a:gd name="connsiteX5" fmla="*/ 750214 w 7203108"/>
                <a:gd name="connsiteY5" fmla="*/ 4164420 h 8383498"/>
                <a:gd name="connsiteX6" fmla="*/ 589793 w 7203108"/>
                <a:gd name="connsiteY6" fmla="*/ 4405052 h 8383498"/>
                <a:gd name="connsiteX7" fmla="*/ 809284 w 7203108"/>
                <a:gd name="connsiteY7" fmla="*/ 5428322 h 8383498"/>
                <a:gd name="connsiteX8" fmla="*/ 12277 w 7203108"/>
                <a:gd name="connsiteY8" fmla="*/ 5929052 h 8383498"/>
                <a:gd name="connsiteX9" fmla="*/ 305494 w 7203108"/>
                <a:gd name="connsiteY9" fmla="*/ 7216635 h 8383498"/>
                <a:gd name="connsiteX10" fmla="*/ 512288 w 7203108"/>
                <a:gd name="connsiteY10" fmla="*/ 7579134 h 8383498"/>
                <a:gd name="connsiteX11" fmla="*/ 387906 w 7203108"/>
                <a:gd name="connsiteY11" fmla="*/ 7287943 h 8383498"/>
                <a:gd name="connsiteX12" fmla="*/ 554269 w 7203108"/>
                <a:gd name="connsiteY12" fmla="*/ 7792101 h 8383498"/>
                <a:gd name="connsiteX13" fmla="*/ 713765 w 7203108"/>
                <a:gd name="connsiteY13" fmla="*/ 7639600 h 8383498"/>
                <a:gd name="connsiteX14" fmla="*/ 1360874 w 7203108"/>
                <a:gd name="connsiteY14" fmla="*/ 7849271 h 8383498"/>
                <a:gd name="connsiteX15" fmla="*/ 1692048 w 7203108"/>
                <a:gd name="connsiteY15" fmla="*/ 8059897 h 8383498"/>
                <a:gd name="connsiteX16" fmla="*/ 1768560 w 7203108"/>
                <a:gd name="connsiteY16" fmla="*/ 8149039 h 8383498"/>
                <a:gd name="connsiteX17" fmla="*/ 1889204 w 7203108"/>
                <a:gd name="connsiteY17" fmla="*/ 8383494 h 8383498"/>
                <a:gd name="connsiteX18" fmla="*/ 3734046 w 7203108"/>
                <a:gd name="connsiteY18" fmla="*/ 8142862 h 8383498"/>
                <a:gd name="connsiteX19" fmla="*/ 5659539 w 7203108"/>
                <a:gd name="connsiteY19" fmla="*/ 8032504 h 8383498"/>
                <a:gd name="connsiteX20" fmla="*/ 6121107 w 7203108"/>
                <a:gd name="connsiteY20" fmla="*/ 7318679 h 8383498"/>
                <a:gd name="connsiteX21" fmla="*/ 6450287 w 7203108"/>
                <a:gd name="connsiteY21" fmla="*/ 6417583 h 8383498"/>
                <a:gd name="connsiteX22" fmla="*/ 6473424 w 7203108"/>
                <a:gd name="connsiteY22" fmla="*/ 5844011 h 8383498"/>
                <a:gd name="connsiteX23" fmla="*/ 6515764 w 7203108"/>
                <a:gd name="connsiteY23" fmla="*/ 5505921 h 8383498"/>
                <a:gd name="connsiteX24" fmla="*/ 6515347 w 7203108"/>
                <a:gd name="connsiteY24" fmla="*/ 5143572 h 8383498"/>
                <a:gd name="connsiteX25" fmla="*/ 6846214 w 7203108"/>
                <a:gd name="connsiteY25" fmla="*/ 3875662 h 8383498"/>
                <a:gd name="connsiteX26" fmla="*/ 7038719 w 7203108"/>
                <a:gd name="connsiteY26" fmla="*/ 3233978 h 8383498"/>
                <a:gd name="connsiteX27" fmla="*/ 7086846 w 7203108"/>
                <a:gd name="connsiteY27" fmla="*/ 2544168 h 8383498"/>
                <a:gd name="connsiteX28" fmla="*/ 7199140 w 7203108"/>
                <a:gd name="connsiteY28" fmla="*/ 1998736 h 8383498"/>
                <a:gd name="connsiteX29" fmla="*/ 6927213 w 7203108"/>
                <a:gd name="connsiteY29" fmla="*/ 1341677 h 8383498"/>
                <a:gd name="connsiteX30" fmla="*/ 6628747 w 7203108"/>
                <a:gd name="connsiteY30" fmla="*/ 925413 h 8383498"/>
                <a:gd name="connsiteX31" fmla="*/ 6309457 w 7203108"/>
                <a:gd name="connsiteY31" fmla="*/ 945338 h 8383498"/>
                <a:gd name="connsiteX32" fmla="*/ 6219743 w 7203108"/>
                <a:gd name="connsiteY32" fmla="*/ 786150 h 8383498"/>
                <a:gd name="connsiteX33" fmla="*/ 5258046 w 7203108"/>
                <a:gd name="connsiteY33" fmla="*/ 137852 h 8383498"/>
                <a:gd name="connsiteX34" fmla="*/ 4199267 w 7203108"/>
                <a:gd name="connsiteY34" fmla="*/ 218062 h 8383498"/>
                <a:gd name="connsiteX35" fmla="*/ 3750088 w 7203108"/>
                <a:gd name="connsiteY35" fmla="*/ 105768 h 8383498"/>
                <a:gd name="connsiteX36" fmla="*/ 4011962 w 7203108"/>
                <a:gd name="connsiteY36" fmla="*/ 151032 h 8383498"/>
                <a:gd name="connsiteX37" fmla="*/ 3284867 w 7203108"/>
                <a:gd name="connsiteY37" fmla="*/ 41599 h 8383498"/>
                <a:gd name="connsiteX38" fmla="*/ 3493414 w 7203108"/>
                <a:gd name="connsiteY38" fmla="*/ 169936 h 8383498"/>
                <a:gd name="connsiteX39" fmla="*/ 3589667 w 7203108"/>
                <a:gd name="connsiteY39" fmla="*/ 153894 h 8383498"/>
                <a:gd name="connsiteX40" fmla="*/ 3557582 w 7203108"/>
                <a:gd name="connsiteY40" fmla="*/ 121810 h 8383498"/>
                <a:gd name="connsiteX41" fmla="*/ 3477372 w 7203108"/>
                <a:gd name="connsiteY41" fmla="*/ 73683 h 8383498"/>
                <a:gd name="connsiteX42" fmla="*/ 3573625 w 7203108"/>
                <a:gd name="connsiteY42" fmla="*/ 9515 h 8383498"/>
                <a:gd name="connsiteX0" fmla="*/ 3573625 w 7203108"/>
                <a:gd name="connsiteY0" fmla="*/ 9515 h 8383498"/>
                <a:gd name="connsiteX1" fmla="*/ 3573625 w 7203108"/>
                <a:gd name="connsiteY1" fmla="*/ 9515 h 8383498"/>
                <a:gd name="connsiteX2" fmla="*/ 3252782 w 7203108"/>
                <a:gd name="connsiteY2" fmla="*/ 282231 h 8383498"/>
                <a:gd name="connsiteX3" fmla="*/ 2333216 w 7203108"/>
                <a:gd name="connsiteY3" fmla="*/ 1353530 h 8383498"/>
                <a:gd name="connsiteX4" fmla="*/ 2229514 w 7203108"/>
                <a:gd name="connsiteY4" fmla="*/ 2574568 h 8383498"/>
                <a:gd name="connsiteX5" fmla="*/ 750214 w 7203108"/>
                <a:gd name="connsiteY5" fmla="*/ 4164420 h 8383498"/>
                <a:gd name="connsiteX6" fmla="*/ 589793 w 7203108"/>
                <a:gd name="connsiteY6" fmla="*/ 4405052 h 8383498"/>
                <a:gd name="connsiteX7" fmla="*/ 809284 w 7203108"/>
                <a:gd name="connsiteY7" fmla="*/ 5428322 h 8383498"/>
                <a:gd name="connsiteX8" fmla="*/ 12277 w 7203108"/>
                <a:gd name="connsiteY8" fmla="*/ 5929052 h 8383498"/>
                <a:gd name="connsiteX9" fmla="*/ 305494 w 7203108"/>
                <a:gd name="connsiteY9" fmla="*/ 7216635 h 8383498"/>
                <a:gd name="connsiteX10" fmla="*/ 512288 w 7203108"/>
                <a:gd name="connsiteY10" fmla="*/ 7579134 h 8383498"/>
                <a:gd name="connsiteX11" fmla="*/ 387906 w 7203108"/>
                <a:gd name="connsiteY11" fmla="*/ 7287943 h 8383498"/>
                <a:gd name="connsiteX12" fmla="*/ 554269 w 7203108"/>
                <a:gd name="connsiteY12" fmla="*/ 7792101 h 8383498"/>
                <a:gd name="connsiteX13" fmla="*/ 713765 w 7203108"/>
                <a:gd name="connsiteY13" fmla="*/ 7639600 h 8383498"/>
                <a:gd name="connsiteX14" fmla="*/ 1360874 w 7203108"/>
                <a:gd name="connsiteY14" fmla="*/ 7849271 h 8383498"/>
                <a:gd name="connsiteX15" fmla="*/ 1692048 w 7203108"/>
                <a:gd name="connsiteY15" fmla="*/ 8059897 h 8383498"/>
                <a:gd name="connsiteX16" fmla="*/ 1768560 w 7203108"/>
                <a:gd name="connsiteY16" fmla="*/ 8149039 h 8383498"/>
                <a:gd name="connsiteX17" fmla="*/ 1889204 w 7203108"/>
                <a:gd name="connsiteY17" fmla="*/ 8383494 h 8383498"/>
                <a:gd name="connsiteX18" fmla="*/ 3734046 w 7203108"/>
                <a:gd name="connsiteY18" fmla="*/ 8142862 h 8383498"/>
                <a:gd name="connsiteX19" fmla="*/ 5659539 w 7203108"/>
                <a:gd name="connsiteY19" fmla="*/ 8032504 h 8383498"/>
                <a:gd name="connsiteX20" fmla="*/ 6121107 w 7203108"/>
                <a:gd name="connsiteY20" fmla="*/ 7318679 h 8383498"/>
                <a:gd name="connsiteX21" fmla="*/ 6450287 w 7203108"/>
                <a:gd name="connsiteY21" fmla="*/ 6417583 h 8383498"/>
                <a:gd name="connsiteX22" fmla="*/ 6473424 w 7203108"/>
                <a:gd name="connsiteY22" fmla="*/ 5844011 h 8383498"/>
                <a:gd name="connsiteX23" fmla="*/ 6515764 w 7203108"/>
                <a:gd name="connsiteY23" fmla="*/ 5505921 h 8383498"/>
                <a:gd name="connsiteX24" fmla="*/ 6515347 w 7203108"/>
                <a:gd name="connsiteY24" fmla="*/ 5143572 h 8383498"/>
                <a:gd name="connsiteX25" fmla="*/ 6846214 w 7203108"/>
                <a:gd name="connsiteY25" fmla="*/ 3875662 h 8383498"/>
                <a:gd name="connsiteX26" fmla="*/ 7038719 w 7203108"/>
                <a:gd name="connsiteY26" fmla="*/ 3233978 h 8383498"/>
                <a:gd name="connsiteX27" fmla="*/ 7086846 w 7203108"/>
                <a:gd name="connsiteY27" fmla="*/ 2544168 h 8383498"/>
                <a:gd name="connsiteX28" fmla="*/ 7199140 w 7203108"/>
                <a:gd name="connsiteY28" fmla="*/ 1998736 h 8383498"/>
                <a:gd name="connsiteX29" fmla="*/ 6927213 w 7203108"/>
                <a:gd name="connsiteY29" fmla="*/ 1341677 h 8383498"/>
                <a:gd name="connsiteX30" fmla="*/ 6628747 w 7203108"/>
                <a:gd name="connsiteY30" fmla="*/ 925413 h 8383498"/>
                <a:gd name="connsiteX31" fmla="*/ 6309457 w 7203108"/>
                <a:gd name="connsiteY31" fmla="*/ 945338 h 8383498"/>
                <a:gd name="connsiteX32" fmla="*/ 6219743 w 7203108"/>
                <a:gd name="connsiteY32" fmla="*/ 786150 h 8383498"/>
                <a:gd name="connsiteX33" fmla="*/ 5249019 w 7203108"/>
                <a:gd name="connsiteY33" fmla="*/ 556483 h 8383498"/>
                <a:gd name="connsiteX34" fmla="*/ 4199267 w 7203108"/>
                <a:gd name="connsiteY34" fmla="*/ 218062 h 8383498"/>
                <a:gd name="connsiteX35" fmla="*/ 3750088 w 7203108"/>
                <a:gd name="connsiteY35" fmla="*/ 105768 h 8383498"/>
                <a:gd name="connsiteX36" fmla="*/ 4011962 w 7203108"/>
                <a:gd name="connsiteY36" fmla="*/ 151032 h 8383498"/>
                <a:gd name="connsiteX37" fmla="*/ 3284867 w 7203108"/>
                <a:gd name="connsiteY37" fmla="*/ 41599 h 8383498"/>
                <a:gd name="connsiteX38" fmla="*/ 3493414 w 7203108"/>
                <a:gd name="connsiteY38" fmla="*/ 169936 h 8383498"/>
                <a:gd name="connsiteX39" fmla="*/ 3589667 w 7203108"/>
                <a:gd name="connsiteY39" fmla="*/ 153894 h 8383498"/>
                <a:gd name="connsiteX40" fmla="*/ 3557582 w 7203108"/>
                <a:gd name="connsiteY40" fmla="*/ 121810 h 8383498"/>
                <a:gd name="connsiteX41" fmla="*/ 3477372 w 7203108"/>
                <a:gd name="connsiteY41" fmla="*/ 73683 h 8383498"/>
                <a:gd name="connsiteX42" fmla="*/ 3573625 w 7203108"/>
                <a:gd name="connsiteY42" fmla="*/ 9515 h 8383498"/>
                <a:gd name="connsiteX0" fmla="*/ 3573625 w 7203108"/>
                <a:gd name="connsiteY0" fmla="*/ 9515 h 8172036"/>
                <a:gd name="connsiteX1" fmla="*/ 3573625 w 7203108"/>
                <a:gd name="connsiteY1" fmla="*/ 9515 h 8172036"/>
                <a:gd name="connsiteX2" fmla="*/ 3252782 w 7203108"/>
                <a:gd name="connsiteY2" fmla="*/ 282231 h 8172036"/>
                <a:gd name="connsiteX3" fmla="*/ 2333216 w 7203108"/>
                <a:gd name="connsiteY3" fmla="*/ 1353530 h 8172036"/>
                <a:gd name="connsiteX4" fmla="*/ 2229514 w 7203108"/>
                <a:gd name="connsiteY4" fmla="*/ 2574568 h 8172036"/>
                <a:gd name="connsiteX5" fmla="*/ 750214 w 7203108"/>
                <a:gd name="connsiteY5" fmla="*/ 4164420 h 8172036"/>
                <a:gd name="connsiteX6" fmla="*/ 589793 w 7203108"/>
                <a:gd name="connsiteY6" fmla="*/ 4405052 h 8172036"/>
                <a:gd name="connsiteX7" fmla="*/ 809284 w 7203108"/>
                <a:gd name="connsiteY7" fmla="*/ 5428322 h 8172036"/>
                <a:gd name="connsiteX8" fmla="*/ 12277 w 7203108"/>
                <a:gd name="connsiteY8" fmla="*/ 5929052 h 8172036"/>
                <a:gd name="connsiteX9" fmla="*/ 305494 w 7203108"/>
                <a:gd name="connsiteY9" fmla="*/ 7216635 h 8172036"/>
                <a:gd name="connsiteX10" fmla="*/ 512288 w 7203108"/>
                <a:gd name="connsiteY10" fmla="*/ 7579134 h 8172036"/>
                <a:gd name="connsiteX11" fmla="*/ 387906 w 7203108"/>
                <a:gd name="connsiteY11" fmla="*/ 7287943 h 8172036"/>
                <a:gd name="connsiteX12" fmla="*/ 554269 w 7203108"/>
                <a:gd name="connsiteY12" fmla="*/ 7792101 h 8172036"/>
                <a:gd name="connsiteX13" fmla="*/ 713765 w 7203108"/>
                <a:gd name="connsiteY13" fmla="*/ 7639600 h 8172036"/>
                <a:gd name="connsiteX14" fmla="*/ 1360874 w 7203108"/>
                <a:gd name="connsiteY14" fmla="*/ 7849271 h 8172036"/>
                <a:gd name="connsiteX15" fmla="*/ 1692048 w 7203108"/>
                <a:gd name="connsiteY15" fmla="*/ 8059897 h 8172036"/>
                <a:gd name="connsiteX16" fmla="*/ 1768560 w 7203108"/>
                <a:gd name="connsiteY16" fmla="*/ 8149039 h 8172036"/>
                <a:gd name="connsiteX17" fmla="*/ 2671923 w 7203108"/>
                <a:gd name="connsiteY17" fmla="*/ 7636490 h 8172036"/>
                <a:gd name="connsiteX18" fmla="*/ 3734046 w 7203108"/>
                <a:gd name="connsiteY18" fmla="*/ 8142862 h 8172036"/>
                <a:gd name="connsiteX19" fmla="*/ 5659539 w 7203108"/>
                <a:gd name="connsiteY19" fmla="*/ 8032504 h 8172036"/>
                <a:gd name="connsiteX20" fmla="*/ 6121107 w 7203108"/>
                <a:gd name="connsiteY20" fmla="*/ 7318679 h 8172036"/>
                <a:gd name="connsiteX21" fmla="*/ 6450287 w 7203108"/>
                <a:gd name="connsiteY21" fmla="*/ 6417583 h 8172036"/>
                <a:gd name="connsiteX22" fmla="*/ 6473424 w 7203108"/>
                <a:gd name="connsiteY22" fmla="*/ 5844011 h 8172036"/>
                <a:gd name="connsiteX23" fmla="*/ 6515764 w 7203108"/>
                <a:gd name="connsiteY23" fmla="*/ 5505921 h 8172036"/>
                <a:gd name="connsiteX24" fmla="*/ 6515347 w 7203108"/>
                <a:gd name="connsiteY24" fmla="*/ 5143572 h 8172036"/>
                <a:gd name="connsiteX25" fmla="*/ 6846214 w 7203108"/>
                <a:gd name="connsiteY25" fmla="*/ 3875662 h 8172036"/>
                <a:gd name="connsiteX26" fmla="*/ 7038719 w 7203108"/>
                <a:gd name="connsiteY26" fmla="*/ 3233978 h 8172036"/>
                <a:gd name="connsiteX27" fmla="*/ 7086846 w 7203108"/>
                <a:gd name="connsiteY27" fmla="*/ 2544168 h 8172036"/>
                <a:gd name="connsiteX28" fmla="*/ 7199140 w 7203108"/>
                <a:gd name="connsiteY28" fmla="*/ 1998736 h 8172036"/>
                <a:gd name="connsiteX29" fmla="*/ 6927213 w 7203108"/>
                <a:gd name="connsiteY29" fmla="*/ 1341677 h 8172036"/>
                <a:gd name="connsiteX30" fmla="*/ 6628747 w 7203108"/>
                <a:gd name="connsiteY30" fmla="*/ 925413 h 8172036"/>
                <a:gd name="connsiteX31" fmla="*/ 6309457 w 7203108"/>
                <a:gd name="connsiteY31" fmla="*/ 945338 h 8172036"/>
                <a:gd name="connsiteX32" fmla="*/ 6219743 w 7203108"/>
                <a:gd name="connsiteY32" fmla="*/ 786150 h 8172036"/>
                <a:gd name="connsiteX33" fmla="*/ 5249019 w 7203108"/>
                <a:gd name="connsiteY33" fmla="*/ 556483 h 8172036"/>
                <a:gd name="connsiteX34" fmla="*/ 4199267 w 7203108"/>
                <a:gd name="connsiteY34" fmla="*/ 218062 h 8172036"/>
                <a:gd name="connsiteX35" fmla="*/ 3750088 w 7203108"/>
                <a:gd name="connsiteY35" fmla="*/ 105768 h 8172036"/>
                <a:gd name="connsiteX36" fmla="*/ 4011962 w 7203108"/>
                <a:gd name="connsiteY36" fmla="*/ 151032 h 8172036"/>
                <a:gd name="connsiteX37" fmla="*/ 3284867 w 7203108"/>
                <a:gd name="connsiteY37" fmla="*/ 41599 h 8172036"/>
                <a:gd name="connsiteX38" fmla="*/ 3493414 w 7203108"/>
                <a:gd name="connsiteY38" fmla="*/ 169936 h 8172036"/>
                <a:gd name="connsiteX39" fmla="*/ 3589667 w 7203108"/>
                <a:gd name="connsiteY39" fmla="*/ 153894 h 8172036"/>
                <a:gd name="connsiteX40" fmla="*/ 3557582 w 7203108"/>
                <a:gd name="connsiteY40" fmla="*/ 121810 h 8172036"/>
                <a:gd name="connsiteX41" fmla="*/ 3477372 w 7203108"/>
                <a:gd name="connsiteY41" fmla="*/ 73683 h 8172036"/>
                <a:gd name="connsiteX42" fmla="*/ 3573625 w 7203108"/>
                <a:gd name="connsiteY42" fmla="*/ 9515 h 8172036"/>
                <a:gd name="connsiteX0" fmla="*/ 3573625 w 7203108"/>
                <a:gd name="connsiteY0" fmla="*/ 9515 h 8172036"/>
                <a:gd name="connsiteX1" fmla="*/ 3573625 w 7203108"/>
                <a:gd name="connsiteY1" fmla="*/ 9515 h 8172036"/>
                <a:gd name="connsiteX2" fmla="*/ 3252782 w 7203108"/>
                <a:gd name="connsiteY2" fmla="*/ 282231 h 8172036"/>
                <a:gd name="connsiteX3" fmla="*/ 2333216 w 7203108"/>
                <a:gd name="connsiteY3" fmla="*/ 1353530 h 8172036"/>
                <a:gd name="connsiteX4" fmla="*/ 2229514 w 7203108"/>
                <a:gd name="connsiteY4" fmla="*/ 2574568 h 8172036"/>
                <a:gd name="connsiteX5" fmla="*/ 750214 w 7203108"/>
                <a:gd name="connsiteY5" fmla="*/ 4164420 h 8172036"/>
                <a:gd name="connsiteX6" fmla="*/ 589793 w 7203108"/>
                <a:gd name="connsiteY6" fmla="*/ 4405052 h 8172036"/>
                <a:gd name="connsiteX7" fmla="*/ 809284 w 7203108"/>
                <a:gd name="connsiteY7" fmla="*/ 5428322 h 8172036"/>
                <a:gd name="connsiteX8" fmla="*/ 12277 w 7203108"/>
                <a:gd name="connsiteY8" fmla="*/ 5929052 h 8172036"/>
                <a:gd name="connsiteX9" fmla="*/ 305494 w 7203108"/>
                <a:gd name="connsiteY9" fmla="*/ 7216635 h 8172036"/>
                <a:gd name="connsiteX10" fmla="*/ 512288 w 7203108"/>
                <a:gd name="connsiteY10" fmla="*/ 7579134 h 8172036"/>
                <a:gd name="connsiteX11" fmla="*/ 387906 w 7203108"/>
                <a:gd name="connsiteY11" fmla="*/ 7287943 h 8172036"/>
                <a:gd name="connsiteX12" fmla="*/ 554269 w 7203108"/>
                <a:gd name="connsiteY12" fmla="*/ 7792101 h 8172036"/>
                <a:gd name="connsiteX13" fmla="*/ 713765 w 7203108"/>
                <a:gd name="connsiteY13" fmla="*/ 7639600 h 8172036"/>
                <a:gd name="connsiteX14" fmla="*/ 1360874 w 7203108"/>
                <a:gd name="connsiteY14" fmla="*/ 7849271 h 8172036"/>
                <a:gd name="connsiteX15" fmla="*/ 1692048 w 7203108"/>
                <a:gd name="connsiteY15" fmla="*/ 8059897 h 8172036"/>
                <a:gd name="connsiteX16" fmla="*/ 1768560 w 7203108"/>
                <a:gd name="connsiteY16" fmla="*/ 8149039 h 8172036"/>
                <a:gd name="connsiteX17" fmla="*/ 2671923 w 7203108"/>
                <a:gd name="connsiteY17" fmla="*/ 7636490 h 8172036"/>
                <a:gd name="connsiteX18" fmla="*/ 4035542 w 7203108"/>
                <a:gd name="connsiteY18" fmla="*/ 7774619 h 8172036"/>
                <a:gd name="connsiteX19" fmla="*/ 5659539 w 7203108"/>
                <a:gd name="connsiteY19" fmla="*/ 8032504 h 8172036"/>
                <a:gd name="connsiteX20" fmla="*/ 6121107 w 7203108"/>
                <a:gd name="connsiteY20" fmla="*/ 7318679 h 8172036"/>
                <a:gd name="connsiteX21" fmla="*/ 6450287 w 7203108"/>
                <a:gd name="connsiteY21" fmla="*/ 6417583 h 8172036"/>
                <a:gd name="connsiteX22" fmla="*/ 6473424 w 7203108"/>
                <a:gd name="connsiteY22" fmla="*/ 5844011 h 8172036"/>
                <a:gd name="connsiteX23" fmla="*/ 6515764 w 7203108"/>
                <a:gd name="connsiteY23" fmla="*/ 5505921 h 8172036"/>
                <a:gd name="connsiteX24" fmla="*/ 6515347 w 7203108"/>
                <a:gd name="connsiteY24" fmla="*/ 5143572 h 8172036"/>
                <a:gd name="connsiteX25" fmla="*/ 6846214 w 7203108"/>
                <a:gd name="connsiteY25" fmla="*/ 3875662 h 8172036"/>
                <a:gd name="connsiteX26" fmla="*/ 7038719 w 7203108"/>
                <a:gd name="connsiteY26" fmla="*/ 3233978 h 8172036"/>
                <a:gd name="connsiteX27" fmla="*/ 7086846 w 7203108"/>
                <a:gd name="connsiteY27" fmla="*/ 2544168 h 8172036"/>
                <a:gd name="connsiteX28" fmla="*/ 7199140 w 7203108"/>
                <a:gd name="connsiteY28" fmla="*/ 1998736 h 8172036"/>
                <a:gd name="connsiteX29" fmla="*/ 6927213 w 7203108"/>
                <a:gd name="connsiteY29" fmla="*/ 1341677 h 8172036"/>
                <a:gd name="connsiteX30" fmla="*/ 6628747 w 7203108"/>
                <a:gd name="connsiteY30" fmla="*/ 925413 h 8172036"/>
                <a:gd name="connsiteX31" fmla="*/ 6309457 w 7203108"/>
                <a:gd name="connsiteY31" fmla="*/ 945338 h 8172036"/>
                <a:gd name="connsiteX32" fmla="*/ 6219743 w 7203108"/>
                <a:gd name="connsiteY32" fmla="*/ 786150 h 8172036"/>
                <a:gd name="connsiteX33" fmla="*/ 5249019 w 7203108"/>
                <a:gd name="connsiteY33" fmla="*/ 556483 h 8172036"/>
                <a:gd name="connsiteX34" fmla="*/ 4199267 w 7203108"/>
                <a:gd name="connsiteY34" fmla="*/ 218062 h 8172036"/>
                <a:gd name="connsiteX35" fmla="*/ 3750088 w 7203108"/>
                <a:gd name="connsiteY35" fmla="*/ 105768 h 8172036"/>
                <a:gd name="connsiteX36" fmla="*/ 4011962 w 7203108"/>
                <a:gd name="connsiteY36" fmla="*/ 151032 h 8172036"/>
                <a:gd name="connsiteX37" fmla="*/ 3284867 w 7203108"/>
                <a:gd name="connsiteY37" fmla="*/ 41599 h 8172036"/>
                <a:gd name="connsiteX38" fmla="*/ 3493414 w 7203108"/>
                <a:gd name="connsiteY38" fmla="*/ 169936 h 8172036"/>
                <a:gd name="connsiteX39" fmla="*/ 3589667 w 7203108"/>
                <a:gd name="connsiteY39" fmla="*/ 153894 h 8172036"/>
                <a:gd name="connsiteX40" fmla="*/ 3557582 w 7203108"/>
                <a:gd name="connsiteY40" fmla="*/ 121810 h 8172036"/>
                <a:gd name="connsiteX41" fmla="*/ 3477372 w 7203108"/>
                <a:gd name="connsiteY41" fmla="*/ 73683 h 8172036"/>
                <a:gd name="connsiteX42" fmla="*/ 3573625 w 7203108"/>
                <a:gd name="connsiteY42" fmla="*/ 9515 h 8172036"/>
                <a:gd name="connsiteX0" fmla="*/ 3573625 w 7203108"/>
                <a:gd name="connsiteY0" fmla="*/ 9515 h 8065472"/>
                <a:gd name="connsiteX1" fmla="*/ 3573625 w 7203108"/>
                <a:gd name="connsiteY1" fmla="*/ 9515 h 8065472"/>
                <a:gd name="connsiteX2" fmla="*/ 3252782 w 7203108"/>
                <a:gd name="connsiteY2" fmla="*/ 282231 h 8065472"/>
                <a:gd name="connsiteX3" fmla="*/ 2333216 w 7203108"/>
                <a:gd name="connsiteY3" fmla="*/ 1353530 h 8065472"/>
                <a:gd name="connsiteX4" fmla="*/ 2229514 w 7203108"/>
                <a:gd name="connsiteY4" fmla="*/ 2574568 h 8065472"/>
                <a:gd name="connsiteX5" fmla="*/ 750214 w 7203108"/>
                <a:gd name="connsiteY5" fmla="*/ 4164420 h 8065472"/>
                <a:gd name="connsiteX6" fmla="*/ 589793 w 7203108"/>
                <a:gd name="connsiteY6" fmla="*/ 4405052 h 8065472"/>
                <a:gd name="connsiteX7" fmla="*/ 809284 w 7203108"/>
                <a:gd name="connsiteY7" fmla="*/ 5428322 h 8065472"/>
                <a:gd name="connsiteX8" fmla="*/ 12277 w 7203108"/>
                <a:gd name="connsiteY8" fmla="*/ 5929052 h 8065472"/>
                <a:gd name="connsiteX9" fmla="*/ 305494 w 7203108"/>
                <a:gd name="connsiteY9" fmla="*/ 7216635 h 8065472"/>
                <a:gd name="connsiteX10" fmla="*/ 512288 w 7203108"/>
                <a:gd name="connsiteY10" fmla="*/ 7579134 h 8065472"/>
                <a:gd name="connsiteX11" fmla="*/ 387906 w 7203108"/>
                <a:gd name="connsiteY11" fmla="*/ 7287943 h 8065472"/>
                <a:gd name="connsiteX12" fmla="*/ 554269 w 7203108"/>
                <a:gd name="connsiteY12" fmla="*/ 7792101 h 8065472"/>
                <a:gd name="connsiteX13" fmla="*/ 713765 w 7203108"/>
                <a:gd name="connsiteY13" fmla="*/ 7639600 h 8065472"/>
                <a:gd name="connsiteX14" fmla="*/ 1360874 w 7203108"/>
                <a:gd name="connsiteY14" fmla="*/ 7849271 h 8065472"/>
                <a:gd name="connsiteX15" fmla="*/ 1692048 w 7203108"/>
                <a:gd name="connsiteY15" fmla="*/ 8059897 h 8065472"/>
                <a:gd name="connsiteX16" fmla="*/ 2041153 w 7203108"/>
                <a:gd name="connsiteY16" fmla="*/ 7560370 h 8065472"/>
                <a:gd name="connsiteX17" fmla="*/ 2671923 w 7203108"/>
                <a:gd name="connsiteY17" fmla="*/ 7636490 h 8065472"/>
                <a:gd name="connsiteX18" fmla="*/ 4035542 w 7203108"/>
                <a:gd name="connsiteY18" fmla="*/ 7774619 h 8065472"/>
                <a:gd name="connsiteX19" fmla="*/ 5659539 w 7203108"/>
                <a:gd name="connsiteY19" fmla="*/ 8032504 h 8065472"/>
                <a:gd name="connsiteX20" fmla="*/ 6121107 w 7203108"/>
                <a:gd name="connsiteY20" fmla="*/ 7318679 h 8065472"/>
                <a:gd name="connsiteX21" fmla="*/ 6450287 w 7203108"/>
                <a:gd name="connsiteY21" fmla="*/ 6417583 h 8065472"/>
                <a:gd name="connsiteX22" fmla="*/ 6473424 w 7203108"/>
                <a:gd name="connsiteY22" fmla="*/ 5844011 h 8065472"/>
                <a:gd name="connsiteX23" fmla="*/ 6515764 w 7203108"/>
                <a:gd name="connsiteY23" fmla="*/ 5505921 h 8065472"/>
                <a:gd name="connsiteX24" fmla="*/ 6515347 w 7203108"/>
                <a:gd name="connsiteY24" fmla="*/ 5143572 h 8065472"/>
                <a:gd name="connsiteX25" fmla="*/ 6846214 w 7203108"/>
                <a:gd name="connsiteY25" fmla="*/ 3875662 h 8065472"/>
                <a:gd name="connsiteX26" fmla="*/ 7038719 w 7203108"/>
                <a:gd name="connsiteY26" fmla="*/ 3233978 h 8065472"/>
                <a:gd name="connsiteX27" fmla="*/ 7086846 w 7203108"/>
                <a:gd name="connsiteY27" fmla="*/ 2544168 h 8065472"/>
                <a:gd name="connsiteX28" fmla="*/ 7199140 w 7203108"/>
                <a:gd name="connsiteY28" fmla="*/ 1998736 h 8065472"/>
                <a:gd name="connsiteX29" fmla="*/ 6927213 w 7203108"/>
                <a:gd name="connsiteY29" fmla="*/ 1341677 h 8065472"/>
                <a:gd name="connsiteX30" fmla="*/ 6628747 w 7203108"/>
                <a:gd name="connsiteY30" fmla="*/ 925413 h 8065472"/>
                <a:gd name="connsiteX31" fmla="*/ 6309457 w 7203108"/>
                <a:gd name="connsiteY31" fmla="*/ 945338 h 8065472"/>
                <a:gd name="connsiteX32" fmla="*/ 6219743 w 7203108"/>
                <a:gd name="connsiteY32" fmla="*/ 786150 h 8065472"/>
                <a:gd name="connsiteX33" fmla="*/ 5249019 w 7203108"/>
                <a:gd name="connsiteY33" fmla="*/ 556483 h 8065472"/>
                <a:gd name="connsiteX34" fmla="*/ 4199267 w 7203108"/>
                <a:gd name="connsiteY34" fmla="*/ 218062 h 8065472"/>
                <a:gd name="connsiteX35" fmla="*/ 3750088 w 7203108"/>
                <a:gd name="connsiteY35" fmla="*/ 105768 h 8065472"/>
                <a:gd name="connsiteX36" fmla="*/ 4011962 w 7203108"/>
                <a:gd name="connsiteY36" fmla="*/ 151032 h 8065472"/>
                <a:gd name="connsiteX37" fmla="*/ 3284867 w 7203108"/>
                <a:gd name="connsiteY37" fmla="*/ 41599 h 8065472"/>
                <a:gd name="connsiteX38" fmla="*/ 3493414 w 7203108"/>
                <a:gd name="connsiteY38" fmla="*/ 169936 h 8065472"/>
                <a:gd name="connsiteX39" fmla="*/ 3589667 w 7203108"/>
                <a:gd name="connsiteY39" fmla="*/ 153894 h 8065472"/>
                <a:gd name="connsiteX40" fmla="*/ 3557582 w 7203108"/>
                <a:gd name="connsiteY40" fmla="*/ 121810 h 8065472"/>
                <a:gd name="connsiteX41" fmla="*/ 3477372 w 7203108"/>
                <a:gd name="connsiteY41" fmla="*/ 73683 h 8065472"/>
                <a:gd name="connsiteX42" fmla="*/ 3573625 w 7203108"/>
                <a:gd name="connsiteY42" fmla="*/ 9515 h 8065472"/>
                <a:gd name="connsiteX0" fmla="*/ 3573625 w 7203108"/>
                <a:gd name="connsiteY0" fmla="*/ 9515 h 8033201"/>
                <a:gd name="connsiteX1" fmla="*/ 3573625 w 7203108"/>
                <a:gd name="connsiteY1" fmla="*/ 9515 h 8033201"/>
                <a:gd name="connsiteX2" fmla="*/ 3252782 w 7203108"/>
                <a:gd name="connsiteY2" fmla="*/ 282231 h 8033201"/>
                <a:gd name="connsiteX3" fmla="*/ 2333216 w 7203108"/>
                <a:gd name="connsiteY3" fmla="*/ 1353530 h 8033201"/>
                <a:gd name="connsiteX4" fmla="*/ 2229514 w 7203108"/>
                <a:gd name="connsiteY4" fmla="*/ 2574568 h 8033201"/>
                <a:gd name="connsiteX5" fmla="*/ 750214 w 7203108"/>
                <a:gd name="connsiteY5" fmla="*/ 4164420 h 8033201"/>
                <a:gd name="connsiteX6" fmla="*/ 589793 w 7203108"/>
                <a:gd name="connsiteY6" fmla="*/ 4405052 h 8033201"/>
                <a:gd name="connsiteX7" fmla="*/ 809284 w 7203108"/>
                <a:gd name="connsiteY7" fmla="*/ 5428322 h 8033201"/>
                <a:gd name="connsiteX8" fmla="*/ 12277 w 7203108"/>
                <a:gd name="connsiteY8" fmla="*/ 5929052 h 8033201"/>
                <a:gd name="connsiteX9" fmla="*/ 305494 w 7203108"/>
                <a:gd name="connsiteY9" fmla="*/ 7216635 h 8033201"/>
                <a:gd name="connsiteX10" fmla="*/ 512288 w 7203108"/>
                <a:gd name="connsiteY10" fmla="*/ 7579134 h 8033201"/>
                <a:gd name="connsiteX11" fmla="*/ 387906 w 7203108"/>
                <a:gd name="connsiteY11" fmla="*/ 7287943 h 8033201"/>
                <a:gd name="connsiteX12" fmla="*/ 554269 w 7203108"/>
                <a:gd name="connsiteY12" fmla="*/ 7792101 h 8033201"/>
                <a:gd name="connsiteX13" fmla="*/ 713765 w 7203108"/>
                <a:gd name="connsiteY13" fmla="*/ 7639600 h 8033201"/>
                <a:gd name="connsiteX14" fmla="*/ 1360874 w 7203108"/>
                <a:gd name="connsiteY14" fmla="*/ 7849271 h 8033201"/>
                <a:gd name="connsiteX15" fmla="*/ 1713718 w 7203108"/>
                <a:gd name="connsiteY15" fmla="*/ 7575196 h 8033201"/>
                <a:gd name="connsiteX16" fmla="*/ 2041153 w 7203108"/>
                <a:gd name="connsiteY16" fmla="*/ 7560370 h 8033201"/>
                <a:gd name="connsiteX17" fmla="*/ 2671923 w 7203108"/>
                <a:gd name="connsiteY17" fmla="*/ 7636490 h 8033201"/>
                <a:gd name="connsiteX18" fmla="*/ 4035542 w 7203108"/>
                <a:gd name="connsiteY18" fmla="*/ 7774619 h 8033201"/>
                <a:gd name="connsiteX19" fmla="*/ 5659539 w 7203108"/>
                <a:gd name="connsiteY19" fmla="*/ 8032504 h 8033201"/>
                <a:gd name="connsiteX20" fmla="*/ 6121107 w 7203108"/>
                <a:gd name="connsiteY20" fmla="*/ 7318679 h 8033201"/>
                <a:gd name="connsiteX21" fmla="*/ 6450287 w 7203108"/>
                <a:gd name="connsiteY21" fmla="*/ 6417583 h 8033201"/>
                <a:gd name="connsiteX22" fmla="*/ 6473424 w 7203108"/>
                <a:gd name="connsiteY22" fmla="*/ 5844011 h 8033201"/>
                <a:gd name="connsiteX23" fmla="*/ 6515764 w 7203108"/>
                <a:gd name="connsiteY23" fmla="*/ 5505921 h 8033201"/>
                <a:gd name="connsiteX24" fmla="*/ 6515347 w 7203108"/>
                <a:gd name="connsiteY24" fmla="*/ 5143572 h 8033201"/>
                <a:gd name="connsiteX25" fmla="*/ 6846214 w 7203108"/>
                <a:gd name="connsiteY25" fmla="*/ 3875662 h 8033201"/>
                <a:gd name="connsiteX26" fmla="*/ 7038719 w 7203108"/>
                <a:gd name="connsiteY26" fmla="*/ 3233978 h 8033201"/>
                <a:gd name="connsiteX27" fmla="*/ 7086846 w 7203108"/>
                <a:gd name="connsiteY27" fmla="*/ 2544168 h 8033201"/>
                <a:gd name="connsiteX28" fmla="*/ 7199140 w 7203108"/>
                <a:gd name="connsiteY28" fmla="*/ 1998736 h 8033201"/>
                <a:gd name="connsiteX29" fmla="*/ 6927213 w 7203108"/>
                <a:gd name="connsiteY29" fmla="*/ 1341677 h 8033201"/>
                <a:gd name="connsiteX30" fmla="*/ 6628747 w 7203108"/>
                <a:gd name="connsiteY30" fmla="*/ 925413 h 8033201"/>
                <a:gd name="connsiteX31" fmla="*/ 6309457 w 7203108"/>
                <a:gd name="connsiteY31" fmla="*/ 945338 h 8033201"/>
                <a:gd name="connsiteX32" fmla="*/ 6219743 w 7203108"/>
                <a:gd name="connsiteY32" fmla="*/ 786150 h 8033201"/>
                <a:gd name="connsiteX33" fmla="*/ 5249019 w 7203108"/>
                <a:gd name="connsiteY33" fmla="*/ 556483 h 8033201"/>
                <a:gd name="connsiteX34" fmla="*/ 4199267 w 7203108"/>
                <a:gd name="connsiteY34" fmla="*/ 218062 h 8033201"/>
                <a:gd name="connsiteX35" fmla="*/ 3750088 w 7203108"/>
                <a:gd name="connsiteY35" fmla="*/ 105768 h 8033201"/>
                <a:gd name="connsiteX36" fmla="*/ 4011962 w 7203108"/>
                <a:gd name="connsiteY36" fmla="*/ 151032 h 8033201"/>
                <a:gd name="connsiteX37" fmla="*/ 3284867 w 7203108"/>
                <a:gd name="connsiteY37" fmla="*/ 41599 h 8033201"/>
                <a:gd name="connsiteX38" fmla="*/ 3493414 w 7203108"/>
                <a:gd name="connsiteY38" fmla="*/ 169936 h 8033201"/>
                <a:gd name="connsiteX39" fmla="*/ 3589667 w 7203108"/>
                <a:gd name="connsiteY39" fmla="*/ 153894 h 8033201"/>
                <a:gd name="connsiteX40" fmla="*/ 3557582 w 7203108"/>
                <a:gd name="connsiteY40" fmla="*/ 121810 h 8033201"/>
                <a:gd name="connsiteX41" fmla="*/ 3477372 w 7203108"/>
                <a:gd name="connsiteY41" fmla="*/ 73683 h 8033201"/>
                <a:gd name="connsiteX42" fmla="*/ 3573625 w 7203108"/>
                <a:gd name="connsiteY42" fmla="*/ 9515 h 8033201"/>
                <a:gd name="connsiteX0" fmla="*/ 3573625 w 7203108"/>
                <a:gd name="connsiteY0" fmla="*/ 9515 h 8033201"/>
                <a:gd name="connsiteX1" fmla="*/ 3573625 w 7203108"/>
                <a:gd name="connsiteY1" fmla="*/ 9515 h 8033201"/>
                <a:gd name="connsiteX2" fmla="*/ 3252782 w 7203108"/>
                <a:gd name="connsiteY2" fmla="*/ 282231 h 8033201"/>
                <a:gd name="connsiteX3" fmla="*/ 2333216 w 7203108"/>
                <a:gd name="connsiteY3" fmla="*/ 1353530 h 8033201"/>
                <a:gd name="connsiteX4" fmla="*/ 2229514 w 7203108"/>
                <a:gd name="connsiteY4" fmla="*/ 2574568 h 8033201"/>
                <a:gd name="connsiteX5" fmla="*/ 750214 w 7203108"/>
                <a:gd name="connsiteY5" fmla="*/ 4164420 h 8033201"/>
                <a:gd name="connsiteX6" fmla="*/ 589793 w 7203108"/>
                <a:gd name="connsiteY6" fmla="*/ 4405052 h 8033201"/>
                <a:gd name="connsiteX7" fmla="*/ 809284 w 7203108"/>
                <a:gd name="connsiteY7" fmla="*/ 5428322 h 8033201"/>
                <a:gd name="connsiteX8" fmla="*/ 12277 w 7203108"/>
                <a:gd name="connsiteY8" fmla="*/ 5929052 h 8033201"/>
                <a:gd name="connsiteX9" fmla="*/ 305494 w 7203108"/>
                <a:gd name="connsiteY9" fmla="*/ 7216635 h 8033201"/>
                <a:gd name="connsiteX10" fmla="*/ 512288 w 7203108"/>
                <a:gd name="connsiteY10" fmla="*/ 7579134 h 8033201"/>
                <a:gd name="connsiteX11" fmla="*/ 387906 w 7203108"/>
                <a:gd name="connsiteY11" fmla="*/ 7287943 h 8033201"/>
                <a:gd name="connsiteX12" fmla="*/ 554269 w 7203108"/>
                <a:gd name="connsiteY12" fmla="*/ 7792101 h 8033201"/>
                <a:gd name="connsiteX13" fmla="*/ 713765 w 7203108"/>
                <a:gd name="connsiteY13" fmla="*/ 7639600 h 8033201"/>
                <a:gd name="connsiteX14" fmla="*/ 1466086 w 7203108"/>
                <a:gd name="connsiteY14" fmla="*/ 7392346 h 8033201"/>
                <a:gd name="connsiteX15" fmla="*/ 1713718 w 7203108"/>
                <a:gd name="connsiteY15" fmla="*/ 7575196 h 8033201"/>
                <a:gd name="connsiteX16" fmla="*/ 2041153 w 7203108"/>
                <a:gd name="connsiteY16" fmla="*/ 7560370 h 8033201"/>
                <a:gd name="connsiteX17" fmla="*/ 2671923 w 7203108"/>
                <a:gd name="connsiteY17" fmla="*/ 7636490 h 8033201"/>
                <a:gd name="connsiteX18" fmla="*/ 4035542 w 7203108"/>
                <a:gd name="connsiteY18" fmla="*/ 7774619 h 8033201"/>
                <a:gd name="connsiteX19" fmla="*/ 5659539 w 7203108"/>
                <a:gd name="connsiteY19" fmla="*/ 8032504 h 8033201"/>
                <a:gd name="connsiteX20" fmla="*/ 6121107 w 7203108"/>
                <a:gd name="connsiteY20" fmla="*/ 7318679 h 8033201"/>
                <a:gd name="connsiteX21" fmla="*/ 6450287 w 7203108"/>
                <a:gd name="connsiteY21" fmla="*/ 6417583 h 8033201"/>
                <a:gd name="connsiteX22" fmla="*/ 6473424 w 7203108"/>
                <a:gd name="connsiteY22" fmla="*/ 5844011 h 8033201"/>
                <a:gd name="connsiteX23" fmla="*/ 6515764 w 7203108"/>
                <a:gd name="connsiteY23" fmla="*/ 5505921 h 8033201"/>
                <a:gd name="connsiteX24" fmla="*/ 6515347 w 7203108"/>
                <a:gd name="connsiteY24" fmla="*/ 5143572 h 8033201"/>
                <a:gd name="connsiteX25" fmla="*/ 6846214 w 7203108"/>
                <a:gd name="connsiteY25" fmla="*/ 3875662 h 8033201"/>
                <a:gd name="connsiteX26" fmla="*/ 7038719 w 7203108"/>
                <a:gd name="connsiteY26" fmla="*/ 3233978 h 8033201"/>
                <a:gd name="connsiteX27" fmla="*/ 7086846 w 7203108"/>
                <a:gd name="connsiteY27" fmla="*/ 2544168 h 8033201"/>
                <a:gd name="connsiteX28" fmla="*/ 7199140 w 7203108"/>
                <a:gd name="connsiteY28" fmla="*/ 1998736 h 8033201"/>
                <a:gd name="connsiteX29" fmla="*/ 6927213 w 7203108"/>
                <a:gd name="connsiteY29" fmla="*/ 1341677 h 8033201"/>
                <a:gd name="connsiteX30" fmla="*/ 6628747 w 7203108"/>
                <a:gd name="connsiteY30" fmla="*/ 925413 h 8033201"/>
                <a:gd name="connsiteX31" fmla="*/ 6309457 w 7203108"/>
                <a:gd name="connsiteY31" fmla="*/ 945338 h 8033201"/>
                <a:gd name="connsiteX32" fmla="*/ 6219743 w 7203108"/>
                <a:gd name="connsiteY32" fmla="*/ 786150 h 8033201"/>
                <a:gd name="connsiteX33" fmla="*/ 5249019 w 7203108"/>
                <a:gd name="connsiteY33" fmla="*/ 556483 h 8033201"/>
                <a:gd name="connsiteX34" fmla="*/ 4199267 w 7203108"/>
                <a:gd name="connsiteY34" fmla="*/ 218062 h 8033201"/>
                <a:gd name="connsiteX35" fmla="*/ 3750088 w 7203108"/>
                <a:gd name="connsiteY35" fmla="*/ 105768 h 8033201"/>
                <a:gd name="connsiteX36" fmla="*/ 4011962 w 7203108"/>
                <a:gd name="connsiteY36" fmla="*/ 151032 h 8033201"/>
                <a:gd name="connsiteX37" fmla="*/ 3284867 w 7203108"/>
                <a:gd name="connsiteY37" fmla="*/ 41599 h 8033201"/>
                <a:gd name="connsiteX38" fmla="*/ 3493414 w 7203108"/>
                <a:gd name="connsiteY38" fmla="*/ 169936 h 8033201"/>
                <a:gd name="connsiteX39" fmla="*/ 3589667 w 7203108"/>
                <a:gd name="connsiteY39" fmla="*/ 153894 h 8033201"/>
                <a:gd name="connsiteX40" fmla="*/ 3557582 w 7203108"/>
                <a:gd name="connsiteY40" fmla="*/ 121810 h 8033201"/>
                <a:gd name="connsiteX41" fmla="*/ 3477372 w 7203108"/>
                <a:gd name="connsiteY41" fmla="*/ 73683 h 8033201"/>
                <a:gd name="connsiteX42" fmla="*/ 3573625 w 7203108"/>
                <a:gd name="connsiteY42" fmla="*/ 9515 h 8033201"/>
                <a:gd name="connsiteX0" fmla="*/ 3573625 w 7203108"/>
                <a:gd name="connsiteY0" fmla="*/ 9515 h 8033201"/>
                <a:gd name="connsiteX1" fmla="*/ 3573625 w 7203108"/>
                <a:gd name="connsiteY1" fmla="*/ 9515 h 8033201"/>
                <a:gd name="connsiteX2" fmla="*/ 3252782 w 7203108"/>
                <a:gd name="connsiteY2" fmla="*/ 282231 h 8033201"/>
                <a:gd name="connsiteX3" fmla="*/ 2333216 w 7203108"/>
                <a:gd name="connsiteY3" fmla="*/ 1353530 h 8033201"/>
                <a:gd name="connsiteX4" fmla="*/ 2229514 w 7203108"/>
                <a:gd name="connsiteY4" fmla="*/ 2574568 h 8033201"/>
                <a:gd name="connsiteX5" fmla="*/ 750214 w 7203108"/>
                <a:gd name="connsiteY5" fmla="*/ 4164420 h 8033201"/>
                <a:gd name="connsiteX6" fmla="*/ 589793 w 7203108"/>
                <a:gd name="connsiteY6" fmla="*/ 4405052 h 8033201"/>
                <a:gd name="connsiteX7" fmla="*/ 809284 w 7203108"/>
                <a:gd name="connsiteY7" fmla="*/ 5428322 h 8033201"/>
                <a:gd name="connsiteX8" fmla="*/ 12277 w 7203108"/>
                <a:gd name="connsiteY8" fmla="*/ 5929052 h 8033201"/>
                <a:gd name="connsiteX9" fmla="*/ 305494 w 7203108"/>
                <a:gd name="connsiteY9" fmla="*/ 7216635 h 8033201"/>
                <a:gd name="connsiteX10" fmla="*/ 512288 w 7203108"/>
                <a:gd name="connsiteY10" fmla="*/ 7579134 h 8033201"/>
                <a:gd name="connsiteX11" fmla="*/ 387906 w 7203108"/>
                <a:gd name="connsiteY11" fmla="*/ 7287943 h 8033201"/>
                <a:gd name="connsiteX12" fmla="*/ 554269 w 7203108"/>
                <a:gd name="connsiteY12" fmla="*/ 7792101 h 8033201"/>
                <a:gd name="connsiteX13" fmla="*/ 814613 w 7203108"/>
                <a:gd name="connsiteY13" fmla="*/ 7298344 h 8033201"/>
                <a:gd name="connsiteX14" fmla="*/ 1466086 w 7203108"/>
                <a:gd name="connsiteY14" fmla="*/ 7392346 h 8033201"/>
                <a:gd name="connsiteX15" fmla="*/ 1713718 w 7203108"/>
                <a:gd name="connsiteY15" fmla="*/ 7575196 h 8033201"/>
                <a:gd name="connsiteX16" fmla="*/ 2041153 w 7203108"/>
                <a:gd name="connsiteY16" fmla="*/ 7560370 h 8033201"/>
                <a:gd name="connsiteX17" fmla="*/ 2671923 w 7203108"/>
                <a:gd name="connsiteY17" fmla="*/ 7636490 h 8033201"/>
                <a:gd name="connsiteX18" fmla="*/ 4035542 w 7203108"/>
                <a:gd name="connsiteY18" fmla="*/ 7774619 h 8033201"/>
                <a:gd name="connsiteX19" fmla="*/ 5659539 w 7203108"/>
                <a:gd name="connsiteY19" fmla="*/ 8032504 h 8033201"/>
                <a:gd name="connsiteX20" fmla="*/ 6121107 w 7203108"/>
                <a:gd name="connsiteY20" fmla="*/ 7318679 h 8033201"/>
                <a:gd name="connsiteX21" fmla="*/ 6450287 w 7203108"/>
                <a:gd name="connsiteY21" fmla="*/ 6417583 h 8033201"/>
                <a:gd name="connsiteX22" fmla="*/ 6473424 w 7203108"/>
                <a:gd name="connsiteY22" fmla="*/ 5844011 h 8033201"/>
                <a:gd name="connsiteX23" fmla="*/ 6515764 w 7203108"/>
                <a:gd name="connsiteY23" fmla="*/ 5505921 h 8033201"/>
                <a:gd name="connsiteX24" fmla="*/ 6515347 w 7203108"/>
                <a:gd name="connsiteY24" fmla="*/ 5143572 h 8033201"/>
                <a:gd name="connsiteX25" fmla="*/ 6846214 w 7203108"/>
                <a:gd name="connsiteY25" fmla="*/ 3875662 h 8033201"/>
                <a:gd name="connsiteX26" fmla="*/ 7038719 w 7203108"/>
                <a:gd name="connsiteY26" fmla="*/ 3233978 h 8033201"/>
                <a:gd name="connsiteX27" fmla="*/ 7086846 w 7203108"/>
                <a:gd name="connsiteY27" fmla="*/ 2544168 h 8033201"/>
                <a:gd name="connsiteX28" fmla="*/ 7199140 w 7203108"/>
                <a:gd name="connsiteY28" fmla="*/ 1998736 h 8033201"/>
                <a:gd name="connsiteX29" fmla="*/ 6927213 w 7203108"/>
                <a:gd name="connsiteY29" fmla="*/ 1341677 h 8033201"/>
                <a:gd name="connsiteX30" fmla="*/ 6628747 w 7203108"/>
                <a:gd name="connsiteY30" fmla="*/ 925413 h 8033201"/>
                <a:gd name="connsiteX31" fmla="*/ 6309457 w 7203108"/>
                <a:gd name="connsiteY31" fmla="*/ 945338 h 8033201"/>
                <a:gd name="connsiteX32" fmla="*/ 6219743 w 7203108"/>
                <a:gd name="connsiteY32" fmla="*/ 786150 h 8033201"/>
                <a:gd name="connsiteX33" fmla="*/ 5249019 w 7203108"/>
                <a:gd name="connsiteY33" fmla="*/ 556483 h 8033201"/>
                <a:gd name="connsiteX34" fmla="*/ 4199267 w 7203108"/>
                <a:gd name="connsiteY34" fmla="*/ 218062 h 8033201"/>
                <a:gd name="connsiteX35" fmla="*/ 3750088 w 7203108"/>
                <a:gd name="connsiteY35" fmla="*/ 105768 h 8033201"/>
                <a:gd name="connsiteX36" fmla="*/ 4011962 w 7203108"/>
                <a:gd name="connsiteY36" fmla="*/ 151032 h 8033201"/>
                <a:gd name="connsiteX37" fmla="*/ 3284867 w 7203108"/>
                <a:gd name="connsiteY37" fmla="*/ 41599 h 8033201"/>
                <a:gd name="connsiteX38" fmla="*/ 3493414 w 7203108"/>
                <a:gd name="connsiteY38" fmla="*/ 169936 h 8033201"/>
                <a:gd name="connsiteX39" fmla="*/ 3589667 w 7203108"/>
                <a:gd name="connsiteY39" fmla="*/ 153894 h 8033201"/>
                <a:gd name="connsiteX40" fmla="*/ 3557582 w 7203108"/>
                <a:gd name="connsiteY40" fmla="*/ 121810 h 8033201"/>
                <a:gd name="connsiteX41" fmla="*/ 3477372 w 7203108"/>
                <a:gd name="connsiteY41" fmla="*/ 73683 h 8033201"/>
                <a:gd name="connsiteX42" fmla="*/ 3573625 w 7203108"/>
                <a:gd name="connsiteY42" fmla="*/ 9515 h 8033201"/>
                <a:gd name="connsiteX0" fmla="*/ 3573625 w 7203108"/>
                <a:gd name="connsiteY0" fmla="*/ 9515 h 8033201"/>
                <a:gd name="connsiteX1" fmla="*/ 3573625 w 7203108"/>
                <a:gd name="connsiteY1" fmla="*/ 9515 h 8033201"/>
                <a:gd name="connsiteX2" fmla="*/ 3252782 w 7203108"/>
                <a:gd name="connsiteY2" fmla="*/ 282231 h 8033201"/>
                <a:gd name="connsiteX3" fmla="*/ 2333216 w 7203108"/>
                <a:gd name="connsiteY3" fmla="*/ 1353530 h 8033201"/>
                <a:gd name="connsiteX4" fmla="*/ 2229514 w 7203108"/>
                <a:gd name="connsiteY4" fmla="*/ 2574568 h 8033201"/>
                <a:gd name="connsiteX5" fmla="*/ 750214 w 7203108"/>
                <a:gd name="connsiteY5" fmla="*/ 4164420 h 8033201"/>
                <a:gd name="connsiteX6" fmla="*/ 589793 w 7203108"/>
                <a:gd name="connsiteY6" fmla="*/ 4405052 h 8033201"/>
                <a:gd name="connsiteX7" fmla="*/ 809284 w 7203108"/>
                <a:gd name="connsiteY7" fmla="*/ 5428322 h 8033201"/>
                <a:gd name="connsiteX8" fmla="*/ 12277 w 7203108"/>
                <a:gd name="connsiteY8" fmla="*/ 5929052 h 8033201"/>
                <a:gd name="connsiteX9" fmla="*/ 305494 w 7203108"/>
                <a:gd name="connsiteY9" fmla="*/ 7216635 h 8033201"/>
                <a:gd name="connsiteX10" fmla="*/ 512288 w 7203108"/>
                <a:gd name="connsiteY10" fmla="*/ 7579134 h 8033201"/>
                <a:gd name="connsiteX11" fmla="*/ 387906 w 7203108"/>
                <a:gd name="connsiteY11" fmla="*/ 7287943 h 8033201"/>
                <a:gd name="connsiteX12" fmla="*/ 705540 w 7203108"/>
                <a:gd name="connsiteY12" fmla="*/ 7280217 h 8033201"/>
                <a:gd name="connsiteX13" fmla="*/ 814613 w 7203108"/>
                <a:gd name="connsiteY13" fmla="*/ 7298344 h 8033201"/>
                <a:gd name="connsiteX14" fmla="*/ 1466086 w 7203108"/>
                <a:gd name="connsiteY14" fmla="*/ 7392346 h 8033201"/>
                <a:gd name="connsiteX15" fmla="*/ 1713718 w 7203108"/>
                <a:gd name="connsiteY15" fmla="*/ 7575196 h 8033201"/>
                <a:gd name="connsiteX16" fmla="*/ 2041153 w 7203108"/>
                <a:gd name="connsiteY16" fmla="*/ 7560370 h 8033201"/>
                <a:gd name="connsiteX17" fmla="*/ 2671923 w 7203108"/>
                <a:gd name="connsiteY17" fmla="*/ 7636490 h 8033201"/>
                <a:gd name="connsiteX18" fmla="*/ 4035542 w 7203108"/>
                <a:gd name="connsiteY18" fmla="*/ 7774619 h 8033201"/>
                <a:gd name="connsiteX19" fmla="*/ 5659539 w 7203108"/>
                <a:gd name="connsiteY19" fmla="*/ 8032504 h 8033201"/>
                <a:gd name="connsiteX20" fmla="*/ 6121107 w 7203108"/>
                <a:gd name="connsiteY20" fmla="*/ 7318679 h 8033201"/>
                <a:gd name="connsiteX21" fmla="*/ 6450287 w 7203108"/>
                <a:gd name="connsiteY21" fmla="*/ 6417583 h 8033201"/>
                <a:gd name="connsiteX22" fmla="*/ 6473424 w 7203108"/>
                <a:gd name="connsiteY22" fmla="*/ 5844011 h 8033201"/>
                <a:gd name="connsiteX23" fmla="*/ 6515764 w 7203108"/>
                <a:gd name="connsiteY23" fmla="*/ 5505921 h 8033201"/>
                <a:gd name="connsiteX24" fmla="*/ 6515347 w 7203108"/>
                <a:gd name="connsiteY24" fmla="*/ 5143572 h 8033201"/>
                <a:gd name="connsiteX25" fmla="*/ 6846214 w 7203108"/>
                <a:gd name="connsiteY25" fmla="*/ 3875662 h 8033201"/>
                <a:gd name="connsiteX26" fmla="*/ 7038719 w 7203108"/>
                <a:gd name="connsiteY26" fmla="*/ 3233978 h 8033201"/>
                <a:gd name="connsiteX27" fmla="*/ 7086846 w 7203108"/>
                <a:gd name="connsiteY27" fmla="*/ 2544168 h 8033201"/>
                <a:gd name="connsiteX28" fmla="*/ 7199140 w 7203108"/>
                <a:gd name="connsiteY28" fmla="*/ 1998736 h 8033201"/>
                <a:gd name="connsiteX29" fmla="*/ 6927213 w 7203108"/>
                <a:gd name="connsiteY29" fmla="*/ 1341677 h 8033201"/>
                <a:gd name="connsiteX30" fmla="*/ 6628747 w 7203108"/>
                <a:gd name="connsiteY30" fmla="*/ 925413 h 8033201"/>
                <a:gd name="connsiteX31" fmla="*/ 6309457 w 7203108"/>
                <a:gd name="connsiteY31" fmla="*/ 945338 h 8033201"/>
                <a:gd name="connsiteX32" fmla="*/ 6219743 w 7203108"/>
                <a:gd name="connsiteY32" fmla="*/ 786150 h 8033201"/>
                <a:gd name="connsiteX33" fmla="*/ 5249019 w 7203108"/>
                <a:gd name="connsiteY33" fmla="*/ 556483 h 8033201"/>
                <a:gd name="connsiteX34" fmla="*/ 4199267 w 7203108"/>
                <a:gd name="connsiteY34" fmla="*/ 218062 h 8033201"/>
                <a:gd name="connsiteX35" fmla="*/ 3750088 w 7203108"/>
                <a:gd name="connsiteY35" fmla="*/ 105768 h 8033201"/>
                <a:gd name="connsiteX36" fmla="*/ 4011962 w 7203108"/>
                <a:gd name="connsiteY36" fmla="*/ 151032 h 8033201"/>
                <a:gd name="connsiteX37" fmla="*/ 3284867 w 7203108"/>
                <a:gd name="connsiteY37" fmla="*/ 41599 h 8033201"/>
                <a:gd name="connsiteX38" fmla="*/ 3493414 w 7203108"/>
                <a:gd name="connsiteY38" fmla="*/ 169936 h 8033201"/>
                <a:gd name="connsiteX39" fmla="*/ 3589667 w 7203108"/>
                <a:gd name="connsiteY39" fmla="*/ 153894 h 8033201"/>
                <a:gd name="connsiteX40" fmla="*/ 3557582 w 7203108"/>
                <a:gd name="connsiteY40" fmla="*/ 121810 h 8033201"/>
                <a:gd name="connsiteX41" fmla="*/ 3477372 w 7203108"/>
                <a:gd name="connsiteY41" fmla="*/ 73683 h 8033201"/>
                <a:gd name="connsiteX42" fmla="*/ 3573625 w 7203108"/>
                <a:gd name="connsiteY42" fmla="*/ 9515 h 8033201"/>
                <a:gd name="connsiteX0" fmla="*/ 3573675 w 7203158"/>
                <a:gd name="connsiteY0" fmla="*/ 9515 h 8033201"/>
                <a:gd name="connsiteX1" fmla="*/ 3573675 w 7203158"/>
                <a:gd name="connsiteY1" fmla="*/ 9515 h 8033201"/>
                <a:gd name="connsiteX2" fmla="*/ 3252832 w 7203158"/>
                <a:gd name="connsiteY2" fmla="*/ 282231 h 8033201"/>
                <a:gd name="connsiteX3" fmla="*/ 2333266 w 7203158"/>
                <a:gd name="connsiteY3" fmla="*/ 1353530 h 8033201"/>
                <a:gd name="connsiteX4" fmla="*/ 2229564 w 7203158"/>
                <a:gd name="connsiteY4" fmla="*/ 2574568 h 8033201"/>
                <a:gd name="connsiteX5" fmla="*/ 750264 w 7203158"/>
                <a:gd name="connsiteY5" fmla="*/ 4164420 h 8033201"/>
                <a:gd name="connsiteX6" fmla="*/ 589843 w 7203158"/>
                <a:gd name="connsiteY6" fmla="*/ 4405052 h 8033201"/>
                <a:gd name="connsiteX7" fmla="*/ 809334 w 7203158"/>
                <a:gd name="connsiteY7" fmla="*/ 5428322 h 8033201"/>
                <a:gd name="connsiteX8" fmla="*/ 12327 w 7203158"/>
                <a:gd name="connsiteY8" fmla="*/ 5929052 h 8033201"/>
                <a:gd name="connsiteX9" fmla="*/ 305544 w 7203158"/>
                <a:gd name="connsiteY9" fmla="*/ 7216635 h 8033201"/>
                <a:gd name="connsiteX10" fmla="*/ 521216 w 7203158"/>
                <a:gd name="connsiteY10" fmla="*/ 7254149 h 8033201"/>
                <a:gd name="connsiteX11" fmla="*/ 387956 w 7203158"/>
                <a:gd name="connsiteY11" fmla="*/ 7287943 h 8033201"/>
                <a:gd name="connsiteX12" fmla="*/ 705590 w 7203158"/>
                <a:gd name="connsiteY12" fmla="*/ 7280217 h 8033201"/>
                <a:gd name="connsiteX13" fmla="*/ 814663 w 7203158"/>
                <a:gd name="connsiteY13" fmla="*/ 7298344 h 8033201"/>
                <a:gd name="connsiteX14" fmla="*/ 1466136 w 7203158"/>
                <a:gd name="connsiteY14" fmla="*/ 7392346 h 8033201"/>
                <a:gd name="connsiteX15" fmla="*/ 1713768 w 7203158"/>
                <a:gd name="connsiteY15" fmla="*/ 7575196 h 8033201"/>
                <a:gd name="connsiteX16" fmla="*/ 2041203 w 7203158"/>
                <a:gd name="connsiteY16" fmla="*/ 7560370 h 8033201"/>
                <a:gd name="connsiteX17" fmla="*/ 2671973 w 7203158"/>
                <a:gd name="connsiteY17" fmla="*/ 7636490 h 8033201"/>
                <a:gd name="connsiteX18" fmla="*/ 4035592 w 7203158"/>
                <a:gd name="connsiteY18" fmla="*/ 7774619 h 8033201"/>
                <a:gd name="connsiteX19" fmla="*/ 5659589 w 7203158"/>
                <a:gd name="connsiteY19" fmla="*/ 8032504 h 8033201"/>
                <a:gd name="connsiteX20" fmla="*/ 6121157 w 7203158"/>
                <a:gd name="connsiteY20" fmla="*/ 7318679 h 8033201"/>
                <a:gd name="connsiteX21" fmla="*/ 6450337 w 7203158"/>
                <a:gd name="connsiteY21" fmla="*/ 6417583 h 8033201"/>
                <a:gd name="connsiteX22" fmla="*/ 6473474 w 7203158"/>
                <a:gd name="connsiteY22" fmla="*/ 5844011 h 8033201"/>
                <a:gd name="connsiteX23" fmla="*/ 6515814 w 7203158"/>
                <a:gd name="connsiteY23" fmla="*/ 5505921 h 8033201"/>
                <a:gd name="connsiteX24" fmla="*/ 6515397 w 7203158"/>
                <a:gd name="connsiteY24" fmla="*/ 5143572 h 8033201"/>
                <a:gd name="connsiteX25" fmla="*/ 6846264 w 7203158"/>
                <a:gd name="connsiteY25" fmla="*/ 3875662 h 8033201"/>
                <a:gd name="connsiteX26" fmla="*/ 7038769 w 7203158"/>
                <a:gd name="connsiteY26" fmla="*/ 3233978 h 8033201"/>
                <a:gd name="connsiteX27" fmla="*/ 7086896 w 7203158"/>
                <a:gd name="connsiteY27" fmla="*/ 2544168 h 8033201"/>
                <a:gd name="connsiteX28" fmla="*/ 7199190 w 7203158"/>
                <a:gd name="connsiteY28" fmla="*/ 1998736 h 8033201"/>
                <a:gd name="connsiteX29" fmla="*/ 6927263 w 7203158"/>
                <a:gd name="connsiteY29" fmla="*/ 1341677 h 8033201"/>
                <a:gd name="connsiteX30" fmla="*/ 6628797 w 7203158"/>
                <a:gd name="connsiteY30" fmla="*/ 925413 h 8033201"/>
                <a:gd name="connsiteX31" fmla="*/ 6309507 w 7203158"/>
                <a:gd name="connsiteY31" fmla="*/ 945338 h 8033201"/>
                <a:gd name="connsiteX32" fmla="*/ 6219793 w 7203158"/>
                <a:gd name="connsiteY32" fmla="*/ 786150 h 8033201"/>
                <a:gd name="connsiteX33" fmla="*/ 5249069 w 7203158"/>
                <a:gd name="connsiteY33" fmla="*/ 556483 h 8033201"/>
                <a:gd name="connsiteX34" fmla="*/ 4199317 w 7203158"/>
                <a:gd name="connsiteY34" fmla="*/ 218062 h 8033201"/>
                <a:gd name="connsiteX35" fmla="*/ 3750138 w 7203158"/>
                <a:gd name="connsiteY35" fmla="*/ 105768 h 8033201"/>
                <a:gd name="connsiteX36" fmla="*/ 4012012 w 7203158"/>
                <a:gd name="connsiteY36" fmla="*/ 151032 h 8033201"/>
                <a:gd name="connsiteX37" fmla="*/ 3284917 w 7203158"/>
                <a:gd name="connsiteY37" fmla="*/ 41599 h 8033201"/>
                <a:gd name="connsiteX38" fmla="*/ 3493464 w 7203158"/>
                <a:gd name="connsiteY38" fmla="*/ 169936 h 8033201"/>
                <a:gd name="connsiteX39" fmla="*/ 3589717 w 7203158"/>
                <a:gd name="connsiteY39" fmla="*/ 153894 h 8033201"/>
                <a:gd name="connsiteX40" fmla="*/ 3557632 w 7203158"/>
                <a:gd name="connsiteY40" fmla="*/ 121810 h 8033201"/>
                <a:gd name="connsiteX41" fmla="*/ 3477422 w 7203158"/>
                <a:gd name="connsiteY41" fmla="*/ 73683 h 8033201"/>
                <a:gd name="connsiteX42" fmla="*/ 3573675 w 7203158"/>
                <a:gd name="connsiteY42" fmla="*/ 9515 h 803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7203158" h="8033201">
                  <a:moveTo>
                    <a:pt x="3573675" y="9515"/>
                  </a:moveTo>
                  <a:lnTo>
                    <a:pt x="3573675" y="9515"/>
                  </a:lnTo>
                  <a:cubicBezTo>
                    <a:pt x="3466727" y="100420"/>
                    <a:pt x="3459567" y="58229"/>
                    <a:pt x="3252832" y="282231"/>
                  </a:cubicBezTo>
                  <a:cubicBezTo>
                    <a:pt x="3046097" y="506233"/>
                    <a:pt x="2503811" y="971474"/>
                    <a:pt x="2333266" y="1353530"/>
                  </a:cubicBezTo>
                  <a:cubicBezTo>
                    <a:pt x="2162721" y="1735586"/>
                    <a:pt x="2493398" y="2106086"/>
                    <a:pt x="2229564" y="2574568"/>
                  </a:cubicBezTo>
                  <a:cubicBezTo>
                    <a:pt x="1965730" y="3043050"/>
                    <a:pt x="1023551" y="3859339"/>
                    <a:pt x="750264" y="4164420"/>
                  </a:cubicBezTo>
                  <a:cubicBezTo>
                    <a:pt x="476977" y="4469501"/>
                    <a:pt x="643317" y="4324841"/>
                    <a:pt x="589843" y="4405052"/>
                  </a:cubicBezTo>
                  <a:cubicBezTo>
                    <a:pt x="600538" y="4608252"/>
                    <a:pt x="869646" y="5233984"/>
                    <a:pt x="809334" y="5428322"/>
                  </a:cubicBezTo>
                  <a:cubicBezTo>
                    <a:pt x="638422" y="5979038"/>
                    <a:pt x="315093" y="5659926"/>
                    <a:pt x="12327" y="5929052"/>
                  </a:cubicBezTo>
                  <a:cubicBezTo>
                    <a:pt x="-62023" y="6523854"/>
                    <a:pt x="220729" y="6995786"/>
                    <a:pt x="305544" y="7216635"/>
                  </a:cubicBezTo>
                  <a:cubicBezTo>
                    <a:pt x="390359" y="7437484"/>
                    <a:pt x="507481" y="7242264"/>
                    <a:pt x="521216" y="7254149"/>
                  </a:cubicBezTo>
                  <a:cubicBezTo>
                    <a:pt x="534951" y="7266034"/>
                    <a:pt x="357227" y="7283598"/>
                    <a:pt x="387956" y="7287943"/>
                  </a:cubicBezTo>
                  <a:cubicBezTo>
                    <a:pt x="418685" y="7292288"/>
                    <a:pt x="634472" y="7278484"/>
                    <a:pt x="705590" y="7280217"/>
                  </a:cubicBezTo>
                  <a:cubicBezTo>
                    <a:pt x="776708" y="7281950"/>
                    <a:pt x="687905" y="7279656"/>
                    <a:pt x="814663" y="7298344"/>
                  </a:cubicBezTo>
                  <a:cubicBezTo>
                    <a:pt x="941421" y="7317032"/>
                    <a:pt x="368427" y="7410951"/>
                    <a:pt x="1466136" y="7392346"/>
                  </a:cubicBezTo>
                  <a:cubicBezTo>
                    <a:pt x="1653294" y="7370957"/>
                    <a:pt x="1617924" y="7547192"/>
                    <a:pt x="1713768" y="7575196"/>
                  </a:cubicBezTo>
                  <a:cubicBezTo>
                    <a:pt x="1809613" y="7603200"/>
                    <a:pt x="1881502" y="7550154"/>
                    <a:pt x="2041203" y="7560370"/>
                  </a:cubicBezTo>
                  <a:cubicBezTo>
                    <a:pt x="2200904" y="7570586"/>
                    <a:pt x="2339575" y="7600782"/>
                    <a:pt x="2671973" y="7636490"/>
                  </a:cubicBezTo>
                  <a:cubicBezTo>
                    <a:pt x="3004371" y="7672198"/>
                    <a:pt x="3431822" y="7834998"/>
                    <a:pt x="4035592" y="7774619"/>
                  </a:cubicBezTo>
                  <a:lnTo>
                    <a:pt x="5659589" y="8032504"/>
                  </a:lnTo>
                  <a:cubicBezTo>
                    <a:pt x="5903016" y="8053672"/>
                    <a:pt x="5989366" y="7587833"/>
                    <a:pt x="6121157" y="7318679"/>
                  </a:cubicBezTo>
                  <a:cubicBezTo>
                    <a:pt x="6252948" y="7049526"/>
                    <a:pt x="6391618" y="6663361"/>
                    <a:pt x="6450337" y="6417583"/>
                  </a:cubicBezTo>
                  <a:cubicBezTo>
                    <a:pt x="6509057" y="6171805"/>
                    <a:pt x="6462561" y="5995955"/>
                    <a:pt x="6473474" y="5844011"/>
                  </a:cubicBezTo>
                  <a:cubicBezTo>
                    <a:pt x="6484387" y="5692067"/>
                    <a:pt x="6508827" y="5622661"/>
                    <a:pt x="6515814" y="5505921"/>
                  </a:cubicBezTo>
                  <a:cubicBezTo>
                    <a:pt x="6522801" y="5389181"/>
                    <a:pt x="6590260" y="5303993"/>
                    <a:pt x="6515397" y="5143572"/>
                  </a:cubicBezTo>
                  <a:cubicBezTo>
                    <a:pt x="6643098" y="4492085"/>
                    <a:pt x="6759035" y="4193928"/>
                    <a:pt x="6846264" y="3875662"/>
                  </a:cubicBezTo>
                  <a:cubicBezTo>
                    <a:pt x="6933493" y="3557396"/>
                    <a:pt x="6974601" y="3447873"/>
                    <a:pt x="7038769" y="3233978"/>
                  </a:cubicBezTo>
                  <a:cubicBezTo>
                    <a:pt x="7054811" y="3004041"/>
                    <a:pt x="7057211" y="2772744"/>
                    <a:pt x="7086896" y="2544168"/>
                  </a:cubicBezTo>
                  <a:cubicBezTo>
                    <a:pt x="7110802" y="2360090"/>
                    <a:pt x="7225796" y="2199151"/>
                    <a:pt x="7199190" y="1998736"/>
                  </a:cubicBezTo>
                  <a:cubicBezTo>
                    <a:pt x="7172585" y="1798321"/>
                    <a:pt x="6932610" y="1758772"/>
                    <a:pt x="6927263" y="1341677"/>
                  </a:cubicBezTo>
                  <a:cubicBezTo>
                    <a:pt x="6937958" y="1122435"/>
                    <a:pt x="6731756" y="991469"/>
                    <a:pt x="6628797" y="925413"/>
                  </a:cubicBezTo>
                  <a:cubicBezTo>
                    <a:pt x="6525838" y="859357"/>
                    <a:pt x="6377674" y="968548"/>
                    <a:pt x="6309507" y="945338"/>
                  </a:cubicBezTo>
                  <a:cubicBezTo>
                    <a:pt x="6241340" y="922128"/>
                    <a:pt x="6433688" y="775455"/>
                    <a:pt x="6219793" y="786150"/>
                  </a:cubicBezTo>
                  <a:cubicBezTo>
                    <a:pt x="5843452" y="754789"/>
                    <a:pt x="5585815" y="651164"/>
                    <a:pt x="5249069" y="556483"/>
                  </a:cubicBezTo>
                  <a:cubicBezTo>
                    <a:pt x="4912323" y="461802"/>
                    <a:pt x="4552243" y="191325"/>
                    <a:pt x="4199317" y="218062"/>
                  </a:cubicBezTo>
                  <a:lnTo>
                    <a:pt x="3750138" y="105768"/>
                  </a:lnTo>
                  <a:cubicBezTo>
                    <a:pt x="3718920" y="94596"/>
                    <a:pt x="3574190" y="-16136"/>
                    <a:pt x="4012012" y="151032"/>
                  </a:cubicBezTo>
                  <a:cubicBezTo>
                    <a:pt x="4306117" y="263327"/>
                    <a:pt x="3016803" y="-123395"/>
                    <a:pt x="3284917" y="41599"/>
                  </a:cubicBezTo>
                  <a:lnTo>
                    <a:pt x="3493464" y="169936"/>
                  </a:lnTo>
                  <a:cubicBezTo>
                    <a:pt x="3525548" y="164589"/>
                    <a:pt x="3563695" y="173410"/>
                    <a:pt x="3589717" y="153894"/>
                  </a:cubicBezTo>
                  <a:cubicBezTo>
                    <a:pt x="3601817" y="144819"/>
                    <a:pt x="3571453" y="127953"/>
                    <a:pt x="3557632" y="121810"/>
                  </a:cubicBezTo>
                  <a:cubicBezTo>
                    <a:pt x="3454646" y="76038"/>
                    <a:pt x="3404129" y="110330"/>
                    <a:pt x="3477422" y="73683"/>
                  </a:cubicBezTo>
                  <a:lnTo>
                    <a:pt x="3573675" y="9515"/>
                  </a:lnTo>
                  <a:close/>
                </a:path>
              </a:pathLst>
            </a:custGeom>
            <a:solidFill>
              <a:srgbClr val="614E3A">
                <a:alpha val="2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uk-U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Объект 2">
              <a:extLst>
                <a:ext uri="{FF2B5EF4-FFF2-40B4-BE49-F238E27FC236}">
                  <a16:creationId xmlns:a16="http://schemas.microsoft.com/office/drawing/2014/main" id="{FEBD9A53-9934-93CC-2575-04916FBBD2DE}"/>
                </a:ext>
              </a:extLst>
            </p:cNvPr>
            <p:cNvSpPr txBox="1">
              <a:spLocks/>
            </p:cNvSpPr>
            <p:nvPr/>
          </p:nvSpPr>
          <p:spPr>
            <a:xfrm>
              <a:off x="6249225" y="1248610"/>
              <a:ext cx="5326743" cy="546518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rgbClr val="614E3A"/>
                  </a:solidFill>
                  <a:latin typeface="Nestle Text TF Book Cnd" panose="00000506000000000000" pitchFamily="2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rgbClr val="614E3A"/>
                  </a:solidFill>
                  <a:latin typeface="Nestle Text TF Book Cnd" panose="00000506000000000000" pitchFamily="2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rgbClr val="614E3A"/>
                  </a:solidFill>
                  <a:latin typeface="Nestle Text TF Book Cnd" panose="00000506000000000000" pitchFamily="2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rgbClr val="614E3A"/>
                  </a:solidFill>
                  <a:latin typeface="Nestle Text TF Book Cnd" panose="00000506000000000000" pitchFamily="2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rgbClr val="614E3A"/>
                  </a:solidFill>
                  <a:latin typeface="Nestle Text TF Book Cnd" panose="00000506000000000000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614E3A"/>
                </a:solidFill>
                <a:effectLst/>
                <a:uLnTx/>
                <a:uFillTx/>
                <a:latin typeface="Nestle Text TF Book Cnd" panose="00000506000000000000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3800" b="0" i="0" u="none" strike="noStrike" kern="1200" cap="none" spc="0" normalizeH="0" baseline="0" noProof="0">
                  <a:ln>
                    <a:noFill/>
                  </a:ln>
                  <a:solidFill>
                    <a:srgbClr val="614E3A"/>
                  </a:solidFill>
                  <a:effectLst/>
                  <a:uLnTx/>
                  <a:uFillTx/>
                  <a:latin typeface="Nestle Text TF Book Cnd" panose="00000506000000000000" pitchFamily="2" charset="0"/>
                  <a:ea typeface="+mn-ea"/>
                  <a:cs typeface="+mn-cs"/>
                </a:rPr>
                <a:t>			Bravery</a:t>
              </a:r>
              <a:r>
                <a:rPr kumimoji="0" lang="uk-UA" sz="3800" b="0" i="0" u="none" strike="noStrike" kern="1200" cap="none" spc="0" normalizeH="0" baseline="0" noProof="0">
                  <a:ln>
                    <a:noFill/>
                  </a:ln>
                  <a:solidFill>
                    <a:srgbClr val="614E3A"/>
                  </a:solidFill>
                  <a:effectLst/>
                  <a:uLnTx/>
                  <a:uFillTx/>
                  <a:latin typeface="Nestle Text TF Book Cnd" panose="00000506000000000000" pitchFamily="2" charset="0"/>
                  <a:ea typeface="+mn-ea"/>
                  <a:cs typeface="+mn-cs"/>
                </a:rPr>
                <a:t>  </a:t>
              </a:r>
              <a:endParaRPr kumimoji="0" lang="en-US" sz="3800" b="0" i="0" u="none" strike="noStrike" kern="1200" cap="none" spc="0" normalizeH="0" baseline="0" noProof="0">
                <a:ln>
                  <a:noFill/>
                </a:ln>
                <a:solidFill>
                  <a:srgbClr val="614E3A"/>
                </a:solidFill>
                <a:effectLst/>
                <a:uLnTx/>
                <a:uFillTx/>
                <a:latin typeface="Nestle Text TF Book Cnd" panose="00000506000000000000" pitchFamily="2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3800" b="0" i="0" u="none" strike="noStrike" kern="1200" cap="none" spc="0" normalizeH="0" baseline="0" noProof="0">
                  <a:ln>
                    <a:noFill/>
                  </a:ln>
                  <a:solidFill>
                    <a:srgbClr val="614E3A"/>
                  </a:solidFill>
                  <a:effectLst/>
                  <a:uLnTx/>
                  <a:uFillTx/>
                  <a:latin typeface="Nestle Text TF Book Cnd" panose="00000506000000000000" pitchFamily="2" charset="0"/>
                  <a:ea typeface="+mn-ea"/>
                  <a:cs typeface="+mn-cs"/>
                </a:rPr>
                <a:t>                           Resilienc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3800" b="0" i="0" u="none" strike="noStrike" kern="1200" cap="none" spc="0" normalizeH="0" baseline="0" noProof="0">
                  <a:ln>
                    <a:noFill/>
                  </a:ln>
                  <a:solidFill>
                    <a:srgbClr val="614E3A"/>
                  </a:solidFill>
                  <a:effectLst/>
                  <a:uLnTx/>
                  <a:uFillTx/>
                  <a:latin typeface="Nestle Text TF Book Cnd" panose="00000506000000000000" pitchFamily="2" charset="0"/>
                  <a:ea typeface="+mn-ea"/>
                  <a:cs typeface="+mn-cs"/>
                </a:rPr>
                <a:t>                      Focusing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3800" b="0" i="0" u="none" strike="noStrike" kern="1200" cap="none" spc="0" normalizeH="0" baseline="0" noProof="0">
                  <a:ln>
                    <a:noFill/>
                  </a:ln>
                  <a:solidFill>
                    <a:srgbClr val="614E3A"/>
                  </a:solidFill>
                  <a:effectLst/>
                  <a:uLnTx/>
                  <a:uFillTx/>
                  <a:latin typeface="Nestle Text TF Book Cnd" panose="00000506000000000000" pitchFamily="2" charset="0"/>
                  <a:ea typeface="+mn-ea"/>
                  <a:cs typeface="+mn-cs"/>
                </a:rPr>
                <a:t>                 Creativity  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3800" b="0" i="0" u="none" strike="noStrike" kern="1200" cap="none" spc="0" normalizeH="0" baseline="0" noProof="0">
                  <a:ln>
                    <a:noFill/>
                  </a:ln>
                  <a:solidFill>
                    <a:srgbClr val="614E3A"/>
                  </a:solidFill>
                  <a:effectLst/>
                  <a:uLnTx/>
                  <a:uFillTx/>
                  <a:latin typeface="Nestle Text TF Book Cnd" panose="00000506000000000000" pitchFamily="2" charset="0"/>
                  <a:ea typeface="+mn-ea"/>
                  <a:cs typeface="+mn-cs"/>
                </a:rPr>
                <a:t>             Adaptiveness</a:t>
              </a:r>
              <a:endParaRPr kumimoji="0" lang="en-US" sz="4600" b="0" i="0" u="none" strike="noStrike" kern="1200" cap="none" spc="0" normalizeH="0" baseline="0" noProof="0">
                <a:ln>
                  <a:noFill/>
                </a:ln>
                <a:solidFill>
                  <a:srgbClr val="614E3A"/>
                </a:solidFill>
                <a:effectLst/>
                <a:uLnTx/>
                <a:uFillTx/>
                <a:latin typeface="Nestle Text TF Book Cnd" panose="00000506000000000000" pitchFamily="2" charset="0"/>
                <a:ea typeface="+mn-ea"/>
                <a:cs typeface="+mn-cs"/>
              </a:endParaRPr>
            </a:p>
          </p:txBody>
        </p:sp>
        <p:pic>
          <p:nvPicPr>
            <p:cNvPr id="48" name="Рисунок 47" descr="Стремление контур">
              <a:extLst>
                <a:ext uri="{FF2B5EF4-FFF2-40B4-BE49-F238E27FC236}">
                  <a16:creationId xmlns:a16="http://schemas.microsoft.com/office/drawing/2014/main" id="{1EBC1A57-25B3-C50D-D1EB-3818AF0DC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344811" y="1729142"/>
              <a:ext cx="494756" cy="494756"/>
            </a:xfrm>
            <a:prstGeom prst="rect">
              <a:avLst/>
            </a:prstGeom>
          </p:spPr>
        </p:pic>
        <p:pic>
          <p:nvPicPr>
            <p:cNvPr id="58" name="Рисунок 57" descr="Коралл контур">
              <a:extLst>
                <a:ext uri="{FF2B5EF4-FFF2-40B4-BE49-F238E27FC236}">
                  <a16:creationId xmlns:a16="http://schemas.microsoft.com/office/drawing/2014/main" id="{520C4DE0-D71F-76FC-A245-C1A9466380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959794" y="2337206"/>
              <a:ext cx="494755" cy="494755"/>
            </a:xfrm>
            <a:prstGeom prst="rect">
              <a:avLst/>
            </a:prstGeom>
          </p:spPr>
        </p:pic>
        <p:pic>
          <p:nvPicPr>
            <p:cNvPr id="60" name="Рисунок 59" descr="Жест двойного касания контур">
              <a:extLst>
                <a:ext uri="{FF2B5EF4-FFF2-40B4-BE49-F238E27FC236}">
                  <a16:creationId xmlns:a16="http://schemas.microsoft.com/office/drawing/2014/main" id="{E8587B83-58A7-A795-9243-DE17A5D8F7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662029" y="3003004"/>
              <a:ext cx="494755" cy="494755"/>
            </a:xfrm>
            <a:prstGeom prst="rect">
              <a:avLst/>
            </a:prstGeom>
          </p:spPr>
        </p:pic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7E969AFE-3F0C-493D-5AF3-01477826767B}"/>
                </a:ext>
              </a:extLst>
            </p:cNvPr>
            <p:cNvSpPr txBox="1"/>
            <p:nvPr/>
          </p:nvSpPr>
          <p:spPr>
            <a:xfrm>
              <a:off x="7399114" y="917686"/>
              <a:ext cx="3763606" cy="66184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614E3A"/>
                  </a:solidFill>
                  <a:effectLst/>
                  <a:uLnTx/>
                  <a:uFillTx/>
                  <a:latin typeface="Nestle Brush" panose="00000500000000000000" pitchFamily="2" charset="0"/>
                  <a:ea typeface="+mn-ea"/>
                  <a:cs typeface="+mn-cs"/>
                </a:rPr>
                <a:t>Daring leaders</a:t>
              </a:r>
            </a:p>
          </p:txBody>
        </p:sp>
        <p:pic>
          <p:nvPicPr>
            <p:cNvPr id="24" name="Рисунок 23" descr="Диафрагма контур">
              <a:extLst>
                <a:ext uri="{FF2B5EF4-FFF2-40B4-BE49-F238E27FC236}">
                  <a16:creationId xmlns:a16="http://schemas.microsoft.com/office/drawing/2014/main" id="{2B859BB9-485B-CC18-5A46-F0ACF6D6F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093114" y="3577076"/>
              <a:ext cx="611999" cy="611999"/>
            </a:xfrm>
            <a:prstGeom prst="rect">
              <a:avLst/>
            </a:prstGeom>
          </p:spPr>
        </p:pic>
        <p:pic>
          <p:nvPicPr>
            <p:cNvPr id="30" name="Рисунок 29" descr="Фрагменты головоломки контур">
              <a:extLst>
                <a:ext uri="{FF2B5EF4-FFF2-40B4-BE49-F238E27FC236}">
                  <a16:creationId xmlns:a16="http://schemas.microsoft.com/office/drawing/2014/main" id="{E3DECC0C-2422-633C-9FEC-2558CF3095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6787114" y="4313896"/>
              <a:ext cx="612000" cy="61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92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217534F-B083-4509-A8FB-65EB4527D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en-US" sz="3200" dirty="0"/>
              <a:t>War caused the biggest migration in modern history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0683EB4-6280-4DDB-8AC3-680C8FC0F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0508" y="6020035"/>
            <a:ext cx="6392007" cy="605348"/>
          </a:xfrm>
        </p:spPr>
        <p:txBody>
          <a:bodyPr/>
          <a:lstStyle/>
          <a:p>
            <a:pPr algn="l"/>
            <a:r>
              <a:rPr lang="br-FR" dirty="0"/>
              <a:t>Sources: </a:t>
            </a:r>
            <a:r>
              <a:rPr lang="en-US" dirty="0"/>
              <a:t>Ministry of Finance of Ukraine</a:t>
            </a:r>
            <a:br>
              <a:rPr lang="br-FR" dirty="0"/>
            </a:br>
            <a:r>
              <a:rPr lang="br-FR" dirty="0"/>
              <a:t>UNHCR data portal / Ukraine Refugee Situation</a:t>
            </a:r>
            <a:br>
              <a:rPr lang="uk-UA" dirty="0"/>
            </a:br>
            <a:r>
              <a:rPr lang="en-US" dirty="0"/>
              <a:t>IOM survey of the general population in Ukraine w.</a:t>
            </a:r>
            <a:r>
              <a:rPr lang="uk-UA" dirty="0"/>
              <a:t>9</a:t>
            </a:r>
            <a:endParaRPr lang="en-US" dirty="0"/>
          </a:p>
          <a:p>
            <a:pPr algn="l"/>
            <a:r>
              <a:rPr lang="en-US" dirty="0"/>
              <a:t>IPSOS consumer barometer w.12</a:t>
            </a:r>
            <a:endParaRPr lang="uk-U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A8B6F6-2C0C-4101-98B8-6F02D7EA75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FF595D2B-2352-4EF6-851E-B013A6FEC119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A989854-C2D4-497F-8A35-AAA5EDC38AC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0508" y="2118485"/>
            <a:ext cx="4270461" cy="287095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D739A00-26C5-482C-B9A9-9410B779C506}"/>
              </a:ext>
            </a:extLst>
          </p:cNvPr>
          <p:cNvSpPr txBox="1"/>
          <p:nvPr/>
        </p:nvSpPr>
        <p:spPr>
          <a:xfrm>
            <a:off x="939727" y="2787453"/>
            <a:ext cx="32252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41,</a:t>
            </a:r>
            <a:r>
              <a:rPr lang="uk-UA" sz="3600" b="1" dirty="0">
                <a:solidFill>
                  <a:schemeClr val="bg1"/>
                </a:solidFill>
              </a:rPr>
              <a:t>2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mio</a:t>
            </a:r>
            <a:r>
              <a:rPr lang="en-US" sz="2000" dirty="0">
                <a:solidFill>
                  <a:schemeClr val="bg1"/>
                </a:solidFill>
              </a:rPr>
              <a:t> before the War  </a:t>
            </a:r>
            <a:endParaRPr lang="uk-UA" sz="36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6C9216A-51BA-4667-8B57-CA97FA528AF8}"/>
              </a:ext>
            </a:extLst>
          </p:cNvPr>
          <p:cNvSpPr txBox="1"/>
          <p:nvPr/>
        </p:nvSpPr>
        <p:spPr>
          <a:xfrm>
            <a:off x="5442908" y="1585242"/>
            <a:ext cx="47145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  <a:latin typeface="Nestle Text TF AR Book" panose="00000500000000000000" pitchFamily="2" charset="0"/>
                <a:cs typeface="Nestle Text TF AR Book" panose="00000500000000000000" pitchFamily="2" charset="0"/>
              </a:rPr>
              <a:t>~8,2 </a:t>
            </a:r>
            <a:r>
              <a:rPr lang="en-US" dirty="0" err="1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mio</a:t>
            </a:r>
            <a:r>
              <a:rPr lang="en-US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 are currently abroad</a:t>
            </a:r>
            <a:endParaRPr lang="uk-UA" sz="3200" dirty="0">
              <a:latin typeface="Nestle Text TF AR Book" panose="00000500000000000000" pitchFamily="2" charset="0"/>
              <a:cs typeface="Nestle Text TF AR Book" panose="00000500000000000000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F0A125C-1DBD-4AEF-8578-31A5184660C1}"/>
              </a:ext>
            </a:extLst>
          </p:cNvPr>
          <p:cNvSpPr txBox="1"/>
          <p:nvPr/>
        </p:nvSpPr>
        <p:spPr>
          <a:xfrm>
            <a:off x="5539485" y="5850758"/>
            <a:ext cx="63920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accent5">
                    <a:lumMod val="75000"/>
                  </a:schemeClr>
                </a:solidFill>
                <a:latin typeface="Nestle Text TF AR Book" panose="00000500000000000000" pitchFamily="2" charset="0"/>
                <a:cs typeface="Nestle Text TF AR Book" panose="00000500000000000000" pitchFamily="2" charset="0"/>
              </a:rPr>
              <a:t>~13 </a:t>
            </a:r>
            <a:r>
              <a:rPr lang="en-US" sz="1600" dirty="0" err="1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mio</a:t>
            </a:r>
            <a:r>
              <a:rPr lang="en-US" sz="1600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 affected by internal migration</a:t>
            </a:r>
          </a:p>
          <a:p>
            <a:r>
              <a:rPr lang="en-US" sz="1600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 </a:t>
            </a:r>
            <a:endParaRPr lang="uk-UA" sz="2800" dirty="0">
              <a:latin typeface="Nestle Text TF AR Book" panose="00000500000000000000" pitchFamily="2" charset="0"/>
              <a:cs typeface="Nestle Text TF AR Book" panose="00000500000000000000" pitchFamily="2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440E98-CF09-49CF-BBB2-1A0210AF45A3}"/>
              </a:ext>
            </a:extLst>
          </p:cNvPr>
          <p:cNvSpPr txBox="1"/>
          <p:nvPr/>
        </p:nvSpPr>
        <p:spPr>
          <a:xfrm>
            <a:off x="5539485" y="2415178"/>
            <a:ext cx="6109175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accent5">
                    <a:lumMod val="75000"/>
                  </a:schemeClr>
                </a:solidFill>
                <a:latin typeface="Nestle Text TF AR Book" panose="00000500000000000000" pitchFamily="2" charset="0"/>
                <a:cs typeface="Nestle Text TF AR Book" panose="00000500000000000000" pitchFamily="2" charset="0"/>
              </a:rPr>
              <a:t>~5 </a:t>
            </a:r>
            <a:r>
              <a:rPr lang="en-US" dirty="0" err="1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mio</a:t>
            </a:r>
            <a:r>
              <a:rPr lang="en-US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 registered as refugees in Europe</a:t>
            </a:r>
            <a:endParaRPr lang="uk-UA" dirty="0">
              <a:latin typeface="Nestle Text TF AR Book" panose="00000500000000000000" pitchFamily="2" charset="0"/>
              <a:cs typeface="Nestle Text TF AR Book" panose="000005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75% women with high education and ki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up to 50% have a jo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ratio 1 working officially in Ukraine vs 1 refugee (or working) outside the country </a:t>
            </a:r>
            <a:endParaRPr lang="uk-UA" dirty="0">
              <a:latin typeface="Nestle Text TF AR Book" panose="00000500000000000000" pitchFamily="2" charset="0"/>
              <a:cs typeface="Nestle Text TF AR Book" panose="00000500000000000000" pitchFamily="2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2448014-9D8C-80D9-DAA9-603AD7893D67}"/>
              </a:ext>
            </a:extLst>
          </p:cNvPr>
          <p:cNvSpPr txBox="1"/>
          <p:nvPr/>
        </p:nvSpPr>
        <p:spPr>
          <a:xfrm>
            <a:off x="5442908" y="4389278"/>
            <a:ext cx="63920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accent5">
                    <a:lumMod val="75000"/>
                  </a:schemeClr>
                </a:solidFill>
                <a:latin typeface="Nestle Text TF AR Book" panose="00000500000000000000" pitchFamily="2" charset="0"/>
                <a:cs typeface="Nestle Text TF AR Book" panose="00000500000000000000" pitchFamily="2" charset="0"/>
              </a:rPr>
              <a:t>&lt; 65% </a:t>
            </a:r>
            <a:r>
              <a:rPr lang="en-US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wish to return back to Ukraine </a:t>
            </a:r>
          </a:p>
          <a:p>
            <a:r>
              <a:rPr lang="en-US" sz="2800" b="1" dirty="0">
                <a:solidFill>
                  <a:schemeClr val="accent5">
                    <a:lumMod val="75000"/>
                  </a:schemeClr>
                </a:solidFill>
                <a:latin typeface="Nestle Text TF AR Book" panose="00000500000000000000" pitchFamily="2" charset="0"/>
                <a:cs typeface="Nestle Text TF AR Book" panose="00000500000000000000" pitchFamily="2" charset="0"/>
              </a:rPr>
              <a:t>&gt; 30% </a:t>
            </a:r>
            <a:r>
              <a:rPr lang="en-US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ready to do it the nearest future </a:t>
            </a:r>
          </a:p>
          <a:p>
            <a:r>
              <a:rPr lang="en-US" sz="1600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 </a:t>
            </a:r>
            <a:endParaRPr lang="uk-UA" sz="2800" dirty="0">
              <a:latin typeface="Nestle Text TF AR Book" panose="00000500000000000000" pitchFamily="2" charset="0"/>
              <a:cs typeface="Nestle Text TF AR Book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19317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35C734C9-655A-46E1-9296-43DF2424EC18}"/>
              </a:ext>
            </a:extLst>
          </p:cNvPr>
          <p:cNvSpPr/>
          <p:nvPr/>
        </p:nvSpPr>
        <p:spPr>
          <a:xfrm>
            <a:off x="332212" y="3786566"/>
            <a:ext cx="4726122" cy="2402370"/>
          </a:xfrm>
          <a:prstGeom prst="roundRect">
            <a:avLst/>
          </a:prstGeom>
          <a:solidFill>
            <a:schemeClr val="bg1">
              <a:lumMod val="85000"/>
              <a:alpha val="2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ED120395-7BEA-4F65-B548-679C542B4A05}"/>
              </a:ext>
            </a:extLst>
          </p:cNvPr>
          <p:cNvSpPr/>
          <p:nvPr/>
        </p:nvSpPr>
        <p:spPr>
          <a:xfrm>
            <a:off x="5965511" y="1026629"/>
            <a:ext cx="4824178" cy="2402371"/>
          </a:xfrm>
          <a:prstGeom prst="roundRect">
            <a:avLst/>
          </a:prstGeom>
          <a:solidFill>
            <a:schemeClr val="bg1">
              <a:lumMod val="85000"/>
              <a:alpha val="2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A9DC226-2092-4596-9B6B-EB5F437FEB66}"/>
              </a:ext>
            </a:extLst>
          </p:cNvPr>
          <p:cNvSpPr/>
          <p:nvPr/>
        </p:nvSpPr>
        <p:spPr>
          <a:xfrm>
            <a:off x="332211" y="1031789"/>
            <a:ext cx="4726123" cy="2402371"/>
          </a:xfrm>
          <a:prstGeom prst="roundRect">
            <a:avLst/>
          </a:prstGeom>
          <a:solidFill>
            <a:schemeClr val="bg1">
              <a:lumMod val="85000"/>
              <a:alpha val="2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queues</a:t>
            </a:r>
            <a:endParaRPr lang="uk-U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96F1F-DEE9-4943-A2EA-CF4316ABF2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754" y="136525"/>
            <a:ext cx="10662138" cy="752307"/>
          </a:xfrm>
        </p:spPr>
        <p:txBody>
          <a:bodyPr/>
          <a:lstStyle/>
          <a:p>
            <a:r>
              <a:rPr lang="en-US" dirty="0"/>
              <a:t>Different crises come one after another we have to adapt as we go </a:t>
            </a:r>
            <a:endParaRPr lang="uk-UA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5AE613-4358-4D96-8668-D064E72855E5}"/>
              </a:ext>
            </a:extLst>
          </p:cNvPr>
          <p:cNvSpPr txBox="1"/>
          <p:nvPr/>
        </p:nvSpPr>
        <p:spPr>
          <a:xfrm>
            <a:off x="668557" y="1107948"/>
            <a:ext cx="40534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Nestle Text TF AR Book" panose="00000500000000000000" pitchFamily="2" charset="0"/>
                <a:cs typeface="Nestle Text TF AR Book" panose="00000500000000000000" pitchFamily="2" charset="0"/>
              </a:rPr>
              <a:t>Supply chain &amp; Logistics disruption </a:t>
            </a:r>
            <a:endParaRPr lang="uk-UA" sz="1600" b="1" dirty="0">
              <a:solidFill>
                <a:schemeClr val="bg1">
                  <a:lumMod val="50000"/>
                </a:schemeClr>
              </a:solidFill>
              <a:latin typeface="Nestle Text TF AR Book" panose="00000500000000000000" pitchFamily="2" charset="0"/>
              <a:cs typeface="Nestle Text TF AR Book" panose="00000500000000000000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97A33C-644A-4548-9220-EA1DDC5C8921}"/>
              </a:ext>
            </a:extLst>
          </p:cNvPr>
          <p:cNvSpPr txBox="1"/>
          <p:nvPr/>
        </p:nvSpPr>
        <p:spPr>
          <a:xfrm>
            <a:off x="938534" y="3956061"/>
            <a:ext cx="35134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ctr"/>
            <a:r>
              <a:rPr lang="en-US" sz="1600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Fuel </a:t>
            </a:r>
            <a:r>
              <a:rPr lang="uk-UA" sz="1600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 </a:t>
            </a:r>
            <a:r>
              <a:rPr lang="en-US" sz="1600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&amp;  Energy Crisis, Blackouts </a:t>
            </a:r>
            <a:endParaRPr lang="uk-UA" sz="1600" dirty="0">
              <a:latin typeface="Nestle Text TF AR Book" panose="00000500000000000000" pitchFamily="2" charset="0"/>
              <a:cs typeface="Nestle Text TF AR Book" panose="000005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8E0BFB-231D-4344-AE6F-314E31EB3F5D}"/>
              </a:ext>
            </a:extLst>
          </p:cNvPr>
          <p:cNvSpPr txBox="1"/>
          <p:nvPr/>
        </p:nvSpPr>
        <p:spPr>
          <a:xfrm>
            <a:off x="6096000" y="1156442"/>
            <a:ext cx="45229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bg1">
                    <a:lumMod val="50000"/>
                  </a:schemeClr>
                </a:solidFill>
                <a:latin typeface="Nestle Text TF AR Book" panose="00000500000000000000" pitchFamily="2" charset="0"/>
                <a:cs typeface="Nestle Text TF AR Book" panose="00000500000000000000" pitchFamily="2" charset="0"/>
              </a:defRPr>
            </a:lvl1pPr>
          </a:lstStyle>
          <a:p>
            <a:r>
              <a:rPr lang="en-US" sz="1400" dirty="0"/>
              <a:t>Regular missile attacks, infrastructure distraction  </a:t>
            </a:r>
            <a:endParaRPr lang="uk-UA" sz="1400" dirty="0"/>
          </a:p>
        </p:txBody>
      </p:sp>
      <p:pic>
        <p:nvPicPr>
          <p:cNvPr id="3074" name="Picture 2" descr="Доїхати неможливо». Великі торговельні мережі про доставку продуктів у  гарячі точки. Новости :section-UKR.NET.">
            <a:extLst>
              <a:ext uri="{FF2B5EF4-FFF2-40B4-BE49-F238E27FC236}">
                <a16:creationId xmlns:a16="http://schemas.microsoft.com/office/drawing/2014/main" id="{CD3E5BEE-8814-41C3-BA6C-AE857D74F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830" y="1513376"/>
            <a:ext cx="1906547" cy="1130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" name="Picture 18" descr="Скільки в Україні триватиме паливна криза? | Громадське радіо">
            <a:extLst>
              <a:ext uri="{FF2B5EF4-FFF2-40B4-BE49-F238E27FC236}">
                <a16:creationId xmlns:a16="http://schemas.microsoft.com/office/drawing/2014/main" id="{79EA1F72-69DF-4245-AE34-41B29C1443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233" y="4391321"/>
            <a:ext cx="1920144" cy="1063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Зміна тенденції: більшість пасажирів УЗ повертаються із Заходу">
            <a:extLst>
              <a:ext uri="{FF2B5EF4-FFF2-40B4-BE49-F238E27FC236}">
                <a16:creationId xmlns:a16="http://schemas.microsoft.com/office/drawing/2014/main" id="{7966679E-D2A9-0A8B-0088-B641710984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3257" y="1513376"/>
            <a:ext cx="1838682" cy="1130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C8B300F-24CD-7B7F-C337-6679F04BE29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8926" y="4391322"/>
            <a:ext cx="1921598" cy="106301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051C493-0548-D50D-D1E3-BE8986B3C62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2974" y="1547628"/>
            <a:ext cx="2339987" cy="11626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54D4A92-AC7A-ECB3-7376-E812BB270FD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01907" y="1547627"/>
            <a:ext cx="1143864" cy="1162635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1EEA2D4-DE5F-9C45-4264-F22CFCA83612}"/>
              </a:ext>
            </a:extLst>
          </p:cNvPr>
          <p:cNvSpPr/>
          <p:nvPr/>
        </p:nvSpPr>
        <p:spPr>
          <a:xfrm>
            <a:off x="5965511" y="3781153"/>
            <a:ext cx="4909176" cy="2402369"/>
          </a:xfrm>
          <a:prstGeom prst="roundRect">
            <a:avLst/>
          </a:prstGeom>
          <a:solidFill>
            <a:schemeClr val="bg1">
              <a:lumMod val="85000"/>
              <a:alpha val="2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F50C10-6A9D-9700-2BB7-8C6586C1D530}"/>
              </a:ext>
            </a:extLst>
          </p:cNvPr>
          <p:cNvSpPr txBox="1"/>
          <p:nvPr/>
        </p:nvSpPr>
        <p:spPr>
          <a:xfrm>
            <a:off x="7005181" y="3830049"/>
            <a:ext cx="28298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ctr"/>
            <a:r>
              <a:rPr lang="en-US" sz="1600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Risk of Food Crisis</a:t>
            </a:r>
            <a:endParaRPr lang="uk-UA" sz="1600" dirty="0">
              <a:latin typeface="Nestle Text TF AR Book" panose="00000500000000000000" pitchFamily="2" charset="0"/>
              <a:cs typeface="Nestle Text TF AR Book" panose="00000500000000000000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6C561BC-A4EF-7A31-A2E9-9673BE640D5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72378" y="4178338"/>
            <a:ext cx="2005222" cy="135057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E8BC714F-2756-94F2-B2DE-C69E20C5ADA4}"/>
              </a:ext>
            </a:extLst>
          </p:cNvPr>
          <p:cNvGrpSpPr/>
          <p:nvPr/>
        </p:nvGrpSpPr>
        <p:grpSpPr>
          <a:xfrm>
            <a:off x="8571228" y="4168603"/>
            <a:ext cx="2005222" cy="1449547"/>
            <a:chOff x="8634338" y="4252011"/>
            <a:chExt cx="2187620" cy="1781195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E318A1D-83E9-72B6-7107-ECA6390C53A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34338" y="4252011"/>
              <a:ext cx="2187620" cy="1638604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435ABC8-CCCC-00AF-2345-C6E2634C6C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73839" y="5454333"/>
              <a:ext cx="1248119" cy="578873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3071F2F-EC98-6D36-D866-798F703C5327}"/>
              </a:ext>
            </a:extLst>
          </p:cNvPr>
          <p:cNvSpPr txBox="1"/>
          <p:nvPr/>
        </p:nvSpPr>
        <p:spPr>
          <a:xfrm>
            <a:off x="1124341" y="2778982"/>
            <a:ext cx="3327668" cy="586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>
              <a:defRPr sz="12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urf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losed sky, seapo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Blocked roads &amp; boarder queues </a:t>
            </a:r>
            <a:endParaRPr lang="uk-UA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2383A15-3576-A306-BA04-9EA0BE22E0B5}"/>
              </a:ext>
            </a:extLst>
          </p:cNvPr>
          <p:cNvSpPr txBox="1"/>
          <p:nvPr/>
        </p:nvSpPr>
        <p:spPr>
          <a:xfrm>
            <a:off x="6818103" y="2768948"/>
            <a:ext cx="3327668" cy="586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>
              <a:defRPr sz="12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143 bio $ direct losses esti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700 bio $ total lo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10 regions are heavily impact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A0042F-178B-0F89-35BC-9E28C810701B}"/>
              </a:ext>
            </a:extLst>
          </p:cNvPr>
          <p:cNvSpPr txBox="1"/>
          <p:nvPr/>
        </p:nvSpPr>
        <p:spPr>
          <a:xfrm>
            <a:off x="954228" y="5551039"/>
            <a:ext cx="3327668" cy="586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>
              <a:defRPr sz="12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5-20L per car fu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12 hours per day electricity supply</a:t>
            </a:r>
            <a:endParaRPr lang="uk-UA" sz="14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6902B02-D040-C5A6-08E6-BF7839477617}"/>
              </a:ext>
            </a:extLst>
          </p:cNvPr>
          <p:cNvSpPr txBox="1"/>
          <p:nvPr/>
        </p:nvSpPr>
        <p:spPr>
          <a:xfrm>
            <a:off x="6861385" y="5554661"/>
            <a:ext cx="3327668" cy="586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>
              <a:defRPr sz="12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rain de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1 sea tanker = 3 600 car tracks </a:t>
            </a:r>
            <a:endParaRPr lang="uk-UA" sz="1400" dirty="0"/>
          </a:p>
        </p:txBody>
      </p:sp>
    </p:spTree>
    <p:extLst>
      <p:ext uri="{BB962C8B-B14F-4D97-AF65-F5344CB8AC3E}">
        <p14:creationId xmlns:p14="http://schemas.microsoft.com/office/powerpoint/2010/main" val="14949308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5A58EED2-BEB9-F20F-ED0A-06269DE2CD9B}"/>
              </a:ext>
            </a:extLst>
          </p:cNvPr>
          <p:cNvGraphicFramePr>
            <a:graphicFrameLocks/>
          </p:cNvGraphicFramePr>
          <p:nvPr/>
        </p:nvGraphicFramePr>
        <p:xfrm>
          <a:off x="268359" y="1393997"/>
          <a:ext cx="11923641" cy="47881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16AE26F-8128-346C-FB3C-692728D28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359" y="-51559"/>
            <a:ext cx="11079334" cy="1182321"/>
          </a:xfrm>
        </p:spPr>
        <p:txBody>
          <a:bodyPr/>
          <a:lstStyle/>
          <a:p>
            <a:r>
              <a:rPr lang="en-US" sz="3600" dirty="0"/>
              <a:t>Consumer Confidence fully depended on Full scale war phases</a:t>
            </a:r>
            <a:br>
              <a:rPr lang="en-US" dirty="0"/>
            </a:br>
            <a:r>
              <a:rPr lang="en-US" dirty="0"/>
              <a:t>reaching highest ever with believe in our victory &amp; territories liberation </a:t>
            </a:r>
            <a:endParaRPr lang="uk-UA" b="1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C3E92E1-66B8-B5FA-D384-8387942675E5}"/>
              </a:ext>
            </a:extLst>
          </p:cNvPr>
          <p:cNvCxnSpPr>
            <a:cxnSpLocks/>
          </p:cNvCxnSpPr>
          <p:nvPr/>
        </p:nvCxnSpPr>
        <p:spPr>
          <a:xfrm flipH="1">
            <a:off x="2356040" y="1849374"/>
            <a:ext cx="59978" cy="3877387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7FE2B96-A6D3-A6CF-3990-DD9E69BABE4E}"/>
              </a:ext>
            </a:extLst>
          </p:cNvPr>
          <p:cNvCxnSpPr>
            <a:cxnSpLocks/>
          </p:cNvCxnSpPr>
          <p:nvPr/>
        </p:nvCxnSpPr>
        <p:spPr>
          <a:xfrm>
            <a:off x="3350155" y="2681724"/>
            <a:ext cx="0" cy="3024889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C6C8187-E219-B37F-98E6-27A2CCE0D8BE}"/>
              </a:ext>
            </a:extLst>
          </p:cNvPr>
          <p:cNvCxnSpPr>
            <a:cxnSpLocks/>
          </p:cNvCxnSpPr>
          <p:nvPr/>
        </p:nvCxnSpPr>
        <p:spPr>
          <a:xfrm>
            <a:off x="6230179" y="3797842"/>
            <a:ext cx="0" cy="1866123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58BE5C1-B136-630D-2639-CBF4A195CE45}"/>
              </a:ext>
            </a:extLst>
          </p:cNvPr>
          <p:cNvCxnSpPr>
            <a:cxnSpLocks/>
          </p:cNvCxnSpPr>
          <p:nvPr/>
        </p:nvCxnSpPr>
        <p:spPr>
          <a:xfrm>
            <a:off x="7787717" y="2978558"/>
            <a:ext cx="0" cy="2891507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C97ABD-260D-2513-4AE7-08A6F3304A60}"/>
              </a:ext>
            </a:extLst>
          </p:cNvPr>
          <p:cNvCxnSpPr>
            <a:cxnSpLocks/>
          </p:cNvCxnSpPr>
          <p:nvPr/>
        </p:nvCxnSpPr>
        <p:spPr>
          <a:xfrm>
            <a:off x="10167715" y="3013115"/>
            <a:ext cx="46374" cy="2891507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BA941CD3-7A24-0FCD-0EC5-8CAEA50B9CAC}"/>
              </a:ext>
            </a:extLst>
          </p:cNvPr>
          <p:cNvSpPr txBox="1"/>
          <p:nvPr/>
        </p:nvSpPr>
        <p:spPr>
          <a:xfrm>
            <a:off x="91561" y="5552877"/>
            <a:ext cx="1597946" cy="3077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>
              <a:defRPr sz="14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r>
              <a:rPr lang="en-US" dirty="0"/>
              <a:t>Before Invasion</a:t>
            </a:r>
            <a:endParaRPr lang="uk-UA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96BA32-60ED-DAAD-C2F4-D2CBBA4D00C7}"/>
              </a:ext>
            </a:extLst>
          </p:cNvPr>
          <p:cNvSpPr txBox="1"/>
          <p:nvPr/>
        </p:nvSpPr>
        <p:spPr>
          <a:xfrm>
            <a:off x="2907022" y="2115764"/>
            <a:ext cx="1676399" cy="3077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>
              <a:defRPr sz="14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r>
              <a:rPr lang="en-US" dirty="0"/>
              <a:t>Liberation of North</a:t>
            </a:r>
            <a:endParaRPr lang="uk-UA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1F8E281-DC42-DF7E-B4D6-5283BF3549C4}"/>
              </a:ext>
            </a:extLst>
          </p:cNvPr>
          <p:cNvSpPr txBox="1"/>
          <p:nvPr/>
        </p:nvSpPr>
        <p:spPr>
          <a:xfrm>
            <a:off x="4293293" y="5127826"/>
            <a:ext cx="1676398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>
              <a:defRPr sz="12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r>
              <a:rPr lang="en-US" sz="1400" dirty="0"/>
              <a:t>Doubts and defeats</a:t>
            </a:r>
            <a:endParaRPr lang="uk-UA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583711F-7E8C-3C81-40B5-21297D87E767}"/>
              </a:ext>
            </a:extLst>
          </p:cNvPr>
          <p:cNvSpPr txBox="1"/>
          <p:nvPr/>
        </p:nvSpPr>
        <p:spPr>
          <a:xfrm>
            <a:off x="6910469" y="1522652"/>
            <a:ext cx="1549234" cy="5232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>
              <a:defRPr sz="14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pPr algn="ctr"/>
            <a:r>
              <a:rPr lang="en-US" dirty="0"/>
              <a:t>Stabilization and Kharkiv region liberation</a:t>
            </a:r>
            <a:endParaRPr lang="uk-UA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5FD1C5-3F9B-33AA-6DB1-0DA34744F746}"/>
              </a:ext>
            </a:extLst>
          </p:cNvPr>
          <p:cNvSpPr txBox="1"/>
          <p:nvPr/>
        </p:nvSpPr>
        <p:spPr>
          <a:xfrm>
            <a:off x="8129152" y="4636612"/>
            <a:ext cx="1967475" cy="5232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>
              <a:defRPr sz="14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r>
              <a:rPr lang="en-US" dirty="0"/>
              <a:t>Massive missile attacks and blackouts</a:t>
            </a:r>
            <a:endParaRPr lang="uk-UA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8663817-D7EF-B55A-5628-95662E71B6E7}"/>
              </a:ext>
            </a:extLst>
          </p:cNvPr>
          <p:cNvSpPr txBox="1"/>
          <p:nvPr/>
        </p:nvSpPr>
        <p:spPr>
          <a:xfrm>
            <a:off x="9361754" y="2022810"/>
            <a:ext cx="19281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614E3A"/>
                </a:solidFill>
                <a:latin typeface="Nestle Text TF Book Cnd" panose="00000506000000000000" pitchFamily="2" charset="0"/>
              </a:rPr>
              <a:t>Anticipation of Counteroffensive</a:t>
            </a:r>
            <a:endParaRPr lang="uk-UA" sz="1400" dirty="0">
              <a:solidFill>
                <a:srgbClr val="614E3A"/>
              </a:solidFill>
              <a:latin typeface="Nestle Text TF Book Cnd" panose="00000506000000000000" pitchFamily="2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252B3784-A539-F2D6-4888-243EABA15A4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6128" y="4321480"/>
            <a:ext cx="1488667" cy="7407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28" name="Picture 4" descr="Очень странная война». Як маніпулювали в телеграмі про контрнаступ на  Харківщині - Детектор медіа.">
            <a:extLst>
              <a:ext uri="{FF2B5EF4-FFF2-40B4-BE49-F238E27FC236}">
                <a16:creationId xmlns:a16="http://schemas.microsoft.com/office/drawing/2014/main" id="{81BADF21-A158-F7A3-45BE-5415448A53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  <a14:imgEffect>
                      <a14:saturation sat="66000"/>
                    </a14:imgEffect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2210" y="1393997"/>
            <a:ext cx="1591319" cy="90837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Головна ялинка країни 2022 у Києві: яскраві фото - Київ">
            <a:extLst>
              <a:ext uri="{FF2B5EF4-FFF2-40B4-BE49-F238E27FC236}">
                <a16:creationId xmlns:a16="http://schemas.microsoft.com/office/drawing/2014/main" id="{F94092A1-9621-7E3D-E000-AA1A0389F3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563" b="7535"/>
          <a:stretch/>
        </p:blipFill>
        <p:spPr bwMode="auto">
          <a:xfrm>
            <a:off x="48904" y="5878769"/>
            <a:ext cx="1431153" cy="77801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tar: 4 Points 17">
            <a:extLst>
              <a:ext uri="{FF2B5EF4-FFF2-40B4-BE49-F238E27FC236}">
                <a16:creationId xmlns:a16="http://schemas.microsoft.com/office/drawing/2014/main" id="{BFFF8301-50D7-F164-8836-FA009C4D58E4}"/>
              </a:ext>
            </a:extLst>
          </p:cNvPr>
          <p:cNvSpPr/>
          <p:nvPr/>
        </p:nvSpPr>
        <p:spPr>
          <a:xfrm>
            <a:off x="1428898" y="4662173"/>
            <a:ext cx="295369" cy="417768"/>
          </a:xfrm>
          <a:prstGeom prst="star4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200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89FA4CC-0DE7-A04E-EB6C-467617F66EE5}"/>
              </a:ext>
            </a:extLst>
          </p:cNvPr>
          <p:cNvSpPr txBox="1"/>
          <p:nvPr/>
        </p:nvSpPr>
        <p:spPr>
          <a:xfrm>
            <a:off x="238461" y="4303638"/>
            <a:ext cx="1597946" cy="7170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>
              <a:defRPr sz="1400">
                <a:solidFill>
                  <a:srgbClr val="614E3A"/>
                </a:solidFill>
                <a:latin typeface="Nestle Text TF Book Cnd" panose="00000506000000000000" pitchFamily="2" charset="0"/>
              </a:defRPr>
            </a:lvl1pPr>
          </a:lstStyle>
          <a:p>
            <a:r>
              <a:rPr lang="en-US" sz="2000" b="1" dirty="0">
                <a:solidFill>
                  <a:srgbClr val="C00000"/>
                </a:solidFill>
              </a:rPr>
              <a:t>Invasion</a:t>
            </a:r>
          </a:p>
          <a:p>
            <a:r>
              <a:rPr lang="en-US" sz="1600" dirty="0">
                <a:solidFill>
                  <a:srgbClr val="C00000"/>
                </a:solidFill>
              </a:rPr>
              <a:t>24.02.2022</a:t>
            </a:r>
          </a:p>
          <a:p>
            <a:endParaRPr lang="uk-UA" sz="1800" dirty="0"/>
          </a:p>
        </p:txBody>
      </p:sp>
      <p:pic>
        <p:nvPicPr>
          <p:cNvPr id="23" name="Picture 2" descr="Ирпень, Буча, Гостомель – ВСУ проводят локальные контратаки к северо-западу  от Киева » Слово и Дело">
            <a:extLst>
              <a:ext uri="{FF2B5EF4-FFF2-40B4-BE49-F238E27FC236}">
                <a16:creationId xmlns:a16="http://schemas.microsoft.com/office/drawing/2014/main" id="{6B8AD4B3-2386-1CAF-3EFC-295BA0DBCD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75226" y="1066383"/>
            <a:ext cx="1902349" cy="908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7430AAA-072B-005C-DDB5-9BD2C5C01AE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2" y="3367627"/>
            <a:ext cx="1475968" cy="8265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A6E62A06-840C-0983-88E1-F95F7F3FB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10608" y="6593090"/>
            <a:ext cx="6392007" cy="365125"/>
          </a:xfrm>
        </p:spPr>
        <p:txBody>
          <a:bodyPr/>
          <a:lstStyle/>
          <a:p>
            <a:pPr algn="l"/>
            <a:r>
              <a:rPr lang="br-FR" sz="1100" dirty="0"/>
              <a:t>Sources:National pole (omnibus) by InfoSapiens</a:t>
            </a:r>
            <a:r>
              <a:rPr lang="uk-UA" sz="1100" dirty="0"/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E364A4-FB1F-2D35-F83D-ACC98A6C9BB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8845" y="1205261"/>
            <a:ext cx="1476114" cy="9083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Picture 6" descr="Місяць з початку повномасштабного вторгнення росії в Україну в цифрах і  фото – Дрогобич.City">
            <a:extLst>
              <a:ext uri="{FF2B5EF4-FFF2-40B4-BE49-F238E27FC236}">
                <a16:creationId xmlns:a16="http://schemas.microsoft.com/office/drawing/2014/main" id="{103BA836-F459-99CC-7193-FE815884A9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7173" y="3367627"/>
            <a:ext cx="2016133" cy="112589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78630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A8E784C5-C873-486F-B2FE-816E5F39E696}"/>
              </a:ext>
            </a:extLst>
          </p:cNvPr>
          <p:cNvSpPr txBox="1">
            <a:spLocks/>
          </p:cNvSpPr>
          <p:nvPr/>
        </p:nvSpPr>
        <p:spPr>
          <a:xfrm>
            <a:off x="422222" y="0"/>
            <a:ext cx="10662138" cy="11823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614E3A"/>
                </a:solidFill>
                <a:latin typeface="Nestle Text TF Book Cnd" panose="00000506000000000000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But blackouts didn’t break our spirit: majority of Ukrainians are staying at home  and believe in economy recovery after the war</a:t>
            </a:r>
            <a:endParaRPr lang="uk-UA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20B46E7-5E4A-4475-A2D2-97CABE973F4E}"/>
              </a:ext>
            </a:extLst>
          </p:cNvPr>
          <p:cNvSpPr txBox="1"/>
          <p:nvPr/>
        </p:nvSpPr>
        <p:spPr>
          <a:xfrm>
            <a:off x="1192410" y="2193646"/>
            <a:ext cx="37609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Nestle Text TF AR Book" panose="00000500000000000000" pitchFamily="2" charset="0"/>
                <a:cs typeface="Nestle Text TF AR Book" panose="00000500000000000000" pitchFamily="2" charset="0"/>
              </a:rPr>
              <a:t>Relocation intention due to blackout</a:t>
            </a:r>
            <a:endParaRPr lang="uk-UA" sz="1600" b="1" dirty="0">
              <a:latin typeface="Nestle Text TF AR Book" panose="00000500000000000000" pitchFamily="2" charset="0"/>
              <a:cs typeface="Nestle Text TF AR Book" panose="000005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4D41B1-1408-433D-9A8D-E25009759AE4}"/>
              </a:ext>
            </a:extLst>
          </p:cNvPr>
          <p:cNvSpPr txBox="1"/>
          <p:nvPr/>
        </p:nvSpPr>
        <p:spPr>
          <a:xfrm>
            <a:off x="7751205" y="2141049"/>
            <a:ext cx="36327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b="1">
                <a:latin typeface="Nestle Text TF AR Book" panose="00000500000000000000" pitchFamily="2" charset="0"/>
                <a:cs typeface="Nestle Text TF AR Book" panose="00000500000000000000" pitchFamily="2" charset="0"/>
              </a:defRPr>
            </a:lvl1pPr>
          </a:lstStyle>
          <a:p>
            <a:pPr algn="ctr"/>
            <a:r>
              <a:rPr lang="en-US" dirty="0"/>
              <a:t>Perception of war influence on UA </a:t>
            </a:r>
          </a:p>
          <a:p>
            <a:pPr algn="ctr"/>
            <a:r>
              <a:rPr lang="en-US" dirty="0"/>
              <a:t>economics future</a:t>
            </a:r>
            <a:endParaRPr lang="uk-UA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03CCB45E-6E39-43E8-A961-0D45D8D7E1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2222" y="6356350"/>
            <a:ext cx="6392007" cy="365125"/>
          </a:xfrm>
        </p:spPr>
        <p:txBody>
          <a:bodyPr/>
          <a:lstStyle/>
          <a:p>
            <a:pPr algn="l"/>
            <a:r>
              <a:rPr lang="br-FR" dirty="0"/>
              <a:t>Sources:</a:t>
            </a:r>
            <a:r>
              <a:rPr lang="uk-UA" dirty="0"/>
              <a:t> </a:t>
            </a:r>
            <a:r>
              <a:rPr lang="br-FR" dirty="0"/>
              <a:t>National pole by </a:t>
            </a:r>
            <a:r>
              <a:rPr lang="en-US" dirty="0"/>
              <a:t>Gradus 12</a:t>
            </a:r>
            <a:r>
              <a:rPr lang="en-US" baseline="30000" dirty="0"/>
              <a:t>th</a:t>
            </a:r>
            <a:r>
              <a:rPr lang="en-US" dirty="0"/>
              <a:t> wave</a:t>
            </a:r>
            <a:endParaRPr lang="uk-UA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B74F26E-827C-4BF4-85DB-E21180C70381}"/>
              </a:ext>
            </a:extLst>
          </p:cNvPr>
          <p:cNvGraphicFramePr/>
          <p:nvPr/>
        </p:nvGraphicFramePr>
        <p:xfrm>
          <a:off x="623353" y="2395331"/>
          <a:ext cx="5767508" cy="3348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F3D8C69-F422-4106-8816-F53E1F0126EC}"/>
              </a:ext>
            </a:extLst>
          </p:cNvPr>
          <p:cNvSpPr txBox="1"/>
          <p:nvPr/>
        </p:nvSpPr>
        <p:spPr>
          <a:xfrm>
            <a:off x="808069" y="2579996"/>
            <a:ext cx="29719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65% are not going to leave their home</a:t>
            </a:r>
            <a:endParaRPr lang="uk-UA" sz="1400" dirty="0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4EECCA9-0E5C-47B7-B951-D6FB647A1A95}"/>
              </a:ext>
            </a:extLst>
          </p:cNvPr>
          <p:cNvGraphicFramePr/>
          <p:nvPr/>
        </p:nvGraphicFramePr>
        <p:xfrm>
          <a:off x="6275488" y="2733884"/>
          <a:ext cx="5631589" cy="3348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312213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41E99-9D29-90E4-750B-AC0484AE1B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Nestle Text TF Book Cnd"/>
              </a:rPr>
              <a:t>Majority of big FMCG companies kept paying to employees in full ensuring additional support</a:t>
            </a:r>
            <a:endParaRPr lang="en-US"/>
          </a:p>
        </p:txBody>
      </p:sp>
      <p:pic>
        <p:nvPicPr>
          <p:cNvPr id="5" name="Picture 4" descr="Chart&#10;&#10;Description automatically generated">
            <a:extLst>
              <a:ext uri="{FF2B5EF4-FFF2-40B4-BE49-F238E27FC236}">
                <a16:creationId xmlns:a16="http://schemas.microsoft.com/office/drawing/2014/main" id="{FDD762BC-1DDE-5DA2-708A-B3010F699B9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320" y="1835512"/>
            <a:ext cx="5431536" cy="3788495"/>
          </a:xfrm>
          <a:prstGeom prst="rect">
            <a:avLst/>
          </a:prstGeom>
        </p:spPr>
      </p:pic>
      <p:pic>
        <p:nvPicPr>
          <p:cNvPr id="7" name="Picture 5">
            <a:extLst>
              <a:ext uri="{FF2B5EF4-FFF2-40B4-BE49-F238E27FC236}">
                <a16:creationId xmlns:a16="http://schemas.microsoft.com/office/drawing/2014/main" id="{C69709AC-7AEF-840F-F064-59D56EB4C10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0941" y="1534276"/>
            <a:ext cx="5431536" cy="408723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C438335-7B82-F8C5-81D9-E650D31AA44C}"/>
              </a:ext>
            </a:extLst>
          </p:cNvPr>
          <p:cNvSpPr/>
          <p:nvPr/>
        </p:nvSpPr>
        <p:spPr>
          <a:xfrm>
            <a:off x="6359338" y="1905000"/>
            <a:ext cx="55245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9" descr="Text&#10;&#10;Description automatically generated">
            <a:extLst>
              <a:ext uri="{FF2B5EF4-FFF2-40B4-BE49-F238E27FC236}">
                <a16:creationId xmlns:a16="http://schemas.microsoft.com/office/drawing/2014/main" id="{7988C821-9E16-A1BF-C460-DDAD31C5716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0459" y="1830325"/>
            <a:ext cx="2474259" cy="66482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BE2C660-8A09-C638-04F1-89ACFA311112}"/>
              </a:ext>
            </a:extLst>
          </p:cNvPr>
          <p:cNvSpPr txBox="1"/>
          <p:nvPr/>
        </p:nvSpPr>
        <p:spPr>
          <a:xfrm>
            <a:off x="8765801" y="1843367"/>
            <a:ext cx="316566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>
                <a:solidFill>
                  <a:srgbClr val="614E3A"/>
                </a:solidFill>
                <a:latin typeface="Nestle Text TF Book Cnd"/>
                <a:ea typeface="+mj-ea"/>
                <a:cs typeface="+mj-cs"/>
              </a:rPr>
              <a:t>Changes in the benefits package of employe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79EE633-01FE-A1CF-9F6F-7E365C5580AF}"/>
              </a:ext>
            </a:extLst>
          </p:cNvPr>
          <p:cNvSpPr txBox="1"/>
          <p:nvPr/>
        </p:nvSpPr>
        <p:spPr>
          <a:xfrm>
            <a:off x="2512918" y="1843367"/>
            <a:ext cx="316566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>
                <a:solidFill>
                  <a:srgbClr val="614E3A"/>
                </a:solidFill>
                <a:latin typeface="Nestle Text TF Book Cnd"/>
                <a:ea typeface="+mj-ea"/>
                <a:cs typeface="+mj-cs"/>
              </a:rPr>
              <a:t>Changes in Salary </a:t>
            </a:r>
            <a:endParaRPr lang="en-US"/>
          </a:p>
          <a:p>
            <a:pPr algn="ctr"/>
            <a:r>
              <a:rPr lang="en-US">
                <a:solidFill>
                  <a:srgbClr val="614E3A"/>
                </a:solidFill>
                <a:latin typeface="Nestle Text TF Book Cnd"/>
                <a:ea typeface="+mj-ea"/>
                <a:cs typeface="+mj-cs"/>
              </a:rPr>
              <a:t>payment</a:t>
            </a:r>
            <a:endParaRPr lang="en-US" err="1"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322255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CFFD8-7D5D-A911-C526-0BF55384D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ocal small and medium business had to respond to business activity reduction reviewing number of people and salaries</a:t>
            </a:r>
            <a:endParaRPr lang="uk-UA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97C3B4-6204-72EA-234A-72F8E60023D1}"/>
              </a:ext>
            </a:extLst>
          </p:cNvPr>
          <p:cNvSpPr txBox="1"/>
          <p:nvPr/>
        </p:nvSpPr>
        <p:spPr>
          <a:xfrm>
            <a:off x="3647440" y="6582975"/>
            <a:ext cx="89001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200"/>
              <a:t>Source: UA Business Global study September 2022 (data comparing to pre-war period)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13047FD-75B2-371C-E28A-33AE8E872F6C}"/>
              </a:ext>
            </a:extLst>
          </p:cNvPr>
          <p:cNvGrpSpPr/>
          <p:nvPr/>
        </p:nvGrpSpPr>
        <p:grpSpPr>
          <a:xfrm>
            <a:off x="-182880" y="1037497"/>
            <a:ext cx="12557760" cy="3176539"/>
            <a:chOff x="-34583" y="2677314"/>
            <a:chExt cx="12557760" cy="3176539"/>
          </a:xfrm>
        </p:grpSpPr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142425A5-8D5E-F106-7CE3-6A6B1ED2BF24}"/>
                </a:ext>
              </a:extLst>
            </p:cNvPr>
            <p:cNvGraphicFramePr/>
            <p:nvPr/>
          </p:nvGraphicFramePr>
          <p:xfrm>
            <a:off x="-34583" y="2834640"/>
            <a:ext cx="4521200" cy="301921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9" name="Chart 8">
              <a:extLst>
                <a:ext uri="{FF2B5EF4-FFF2-40B4-BE49-F238E27FC236}">
                  <a16:creationId xmlns:a16="http://schemas.microsoft.com/office/drawing/2014/main" id="{36A8ACB7-95F4-7242-20F3-889A16BC7F3A}"/>
                </a:ext>
              </a:extLst>
            </p:cNvPr>
            <p:cNvGraphicFramePr/>
            <p:nvPr/>
          </p:nvGraphicFramePr>
          <p:xfrm>
            <a:off x="3983697" y="2834640"/>
            <a:ext cx="4521200" cy="301921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F2455CD9-5C2F-34B5-D2E5-38DAA7B3F011}"/>
                </a:ext>
              </a:extLst>
            </p:cNvPr>
            <p:cNvGraphicFramePr/>
            <p:nvPr/>
          </p:nvGraphicFramePr>
          <p:xfrm>
            <a:off x="8001977" y="2677314"/>
            <a:ext cx="4521200" cy="301921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2A5C27E-1A88-F528-8489-112E832B77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839" y="4357524"/>
            <a:ext cx="10662138" cy="176879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/>
              <a:t>Still demonstrating strong ability to adapt:</a:t>
            </a:r>
          </a:p>
          <a:p>
            <a:r>
              <a:rPr lang="en-US" sz="2000"/>
              <a:t>58% companies changed or adapted service/product to new reality</a:t>
            </a:r>
          </a:p>
          <a:p>
            <a:r>
              <a:rPr lang="en-US" sz="2000"/>
              <a:t>50% are looking for customers outside Ukraine and 30% are already exporting goods and services</a:t>
            </a:r>
          </a:p>
        </p:txBody>
      </p:sp>
    </p:spTree>
    <p:extLst>
      <p:ext uri="{BB962C8B-B14F-4D97-AF65-F5344CB8AC3E}">
        <p14:creationId xmlns:p14="http://schemas.microsoft.com/office/powerpoint/2010/main" val="33398431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818D9466-3213-4EB3-9350-0CF54FF9FA64}"/>
              </a:ext>
            </a:extLst>
          </p:cNvPr>
          <p:cNvGraphicFramePr/>
          <p:nvPr/>
        </p:nvGraphicFramePr>
        <p:xfrm>
          <a:off x="5844990" y="1681679"/>
          <a:ext cx="3796938" cy="1916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945679" y="1300863"/>
            <a:ext cx="19351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3513D">
                    <a:lumMod val="75000"/>
                  </a:srgbClr>
                </a:solidFill>
                <a:effectLst/>
                <a:uLnTx/>
                <a:uFillTx/>
                <a:latin typeface="Nestle_Text Book"/>
                <a:ea typeface="+mn-ea"/>
                <a:cs typeface="+mn-cs"/>
              </a:rPr>
              <a:t>GDP Growth Rat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45680" y="3817907"/>
            <a:ext cx="22076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3513D">
                    <a:lumMod val="75000"/>
                  </a:srgbClr>
                </a:solidFill>
                <a:effectLst/>
                <a:uLnTx/>
                <a:uFillTx/>
                <a:latin typeface="Nestle_Text Book"/>
                <a:ea typeface="+mn-ea"/>
                <a:cs typeface="+mn-cs"/>
              </a:rPr>
              <a:t>Unemployment Rat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84861" y="1343125"/>
            <a:ext cx="15151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3513D">
                    <a:lumMod val="75000"/>
                  </a:srgbClr>
                </a:solidFill>
                <a:effectLst/>
                <a:uLnTx/>
                <a:uFillTx/>
                <a:latin typeface="Nestle_Text Book"/>
                <a:ea typeface="+mn-ea"/>
                <a:cs typeface="+mn-cs"/>
              </a:rPr>
              <a:t>Inflation Rat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47394" y="3859098"/>
            <a:ext cx="26741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3513D">
                    <a:lumMod val="75000"/>
                  </a:srgbClr>
                </a:solidFill>
                <a:effectLst/>
                <a:uLnTx/>
                <a:uFillTx/>
                <a:latin typeface="Nestle_Text Book"/>
                <a:ea typeface="+mn-ea"/>
                <a:cs typeface="+mn-cs"/>
              </a:rPr>
              <a:t>UAH Devaluation vs USD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0C1062F-D863-4585-B47A-3B238B5133BD}"/>
              </a:ext>
            </a:extLst>
          </p:cNvPr>
          <p:cNvGraphicFramePr/>
          <p:nvPr/>
        </p:nvGraphicFramePr>
        <p:xfrm>
          <a:off x="1054021" y="1681679"/>
          <a:ext cx="3796938" cy="18740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29AECFF9-5C4A-4E9B-9651-8085AE5663DA}"/>
              </a:ext>
            </a:extLst>
          </p:cNvPr>
          <p:cNvGraphicFramePr/>
          <p:nvPr/>
        </p:nvGraphicFramePr>
        <p:xfrm>
          <a:off x="1054021" y="4294533"/>
          <a:ext cx="3796938" cy="18740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Title 2">
            <a:extLst>
              <a:ext uri="{FF2B5EF4-FFF2-40B4-BE49-F238E27FC236}">
                <a16:creationId xmlns:a16="http://schemas.microsoft.com/office/drawing/2014/main" id="{6C854886-0FA9-437D-831E-A182F408893F}"/>
              </a:ext>
            </a:extLst>
          </p:cNvPr>
          <p:cNvSpPr txBox="1">
            <a:spLocks/>
          </p:cNvSpPr>
          <p:nvPr/>
        </p:nvSpPr>
        <p:spPr>
          <a:xfrm>
            <a:off x="430365" y="432000"/>
            <a:ext cx="11327999" cy="11509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2600" b="1" kern="1200">
                <a:solidFill>
                  <a:srgbClr val="0067A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614E3A"/>
                </a:solidFill>
                <a:effectLst/>
                <a:uLnTx/>
                <a:uFillTx/>
                <a:latin typeface="Nestle Text TF Book Cnd"/>
                <a:ea typeface="+mj-ea"/>
                <a:cs typeface="+mj-cs"/>
              </a:rPr>
              <a:t>Ukraine: Macro Environment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614E3A"/>
              </a:solidFill>
              <a:effectLst/>
              <a:uLnTx/>
              <a:uFillTx/>
              <a:latin typeface="Nestle Text TF Book Cnd"/>
              <a:ea typeface="+mj-ea"/>
              <a:cs typeface="+mj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402FFED-3605-45DB-8ACF-C2FCE9BD9BCC}"/>
              </a:ext>
            </a:extLst>
          </p:cNvPr>
          <p:cNvSpPr/>
          <p:nvPr/>
        </p:nvSpPr>
        <p:spPr>
          <a:xfrm>
            <a:off x="5199669" y="6480216"/>
            <a:ext cx="424581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6254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3513D"/>
                </a:solidFill>
                <a:effectLst/>
                <a:uLnTx/>
                <a:uFillTx/>
                <a:latin typeface="Nestle_Text Light" panose="00000400000000000000" pitchFamily="2" charset="0"/>
                <a:ea typeface="+mn-ea"/>
                <a:cs typeface="+mn-cs"/>
                <a:sym typeface="Arial"/>
              </a:rPr>
              <a:t>Source: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63513D"/>
                </a:solidFill>
                <a:effectLst/>
                <a:uLnTx/>
                <a:uFillTx/>
                <a:latin typeface="Nestle_Text Light" panose="00000400000000000000" pitchFamily="2" charset="0"/>
                <a:ea typeface="+mn-ea"/>
                <a:cs typeface="+mn-cs"/>
                <a:sym typeface="Arial"/>
              </a:rPr>
              <a:t>UkrSta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63513D"/>
                </a:solidFill>
                <a:effectLst/>
                <a:uLnTx/>
                <a:uFillTx/>
                <a:latin typeface="Nestle_Text Light" panose="00000400000000000000" pitchFamily="2" charset="0"/>
                <a:ea typeface="+mn-ea"/>
                <a:cs typeface="+mn-cs"/>
                <a:sym typeface="Arial"/>
              </a:rPr>
              <a:t>; CITI, Treasury department</a:t>
            </a: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16643F93-5B11-4473-A347-71832F54260D}"/>
              </a:ext>
            </a:extLst>
          </p:cNvPr>
          <p:cNvGraphicFramePr/>
          <p:nvPr/>
        </p:nvGraphicFramePr>
        <p:xfrm>
          <a:off x="5838209" y="4336795"/>
          <a:ext cx="3796938" cy="18740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18BFBDB2-E8E9-B4F6-1E0B-7F0C2929CF4E}"/>
              </a:ext>
            </a:extLst>
          </p:cNvPr>
          <p:cNvSpPr txBox="1">
            <a:spLocks/>
          </p:cNvSpPr>
          <p:nvPr/>
        </p:nvSpPr>
        <p:spPr>
          <a:xfrm>
            <a:off x="823880" y="6533660"/>
            <a:ext cx="1224000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Nestle_Text Light" panose="000004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05DC02-2DEF-4E80-907C-73AA0BCCAC99}" type="datetime3">
              <a:rPr kumimoji="0" lang="uk-UA" sz="800" b="0" i="0" u="none" strike="noStrike" kern="1200" cap="none" spc="0" normalizeH="0" baseline="0" noProof="0" smtClean="0">
                <a:ln>
                  <a:noFill/>
                </a:ln>
                <a:solidFill>
                  <a:srgbClr val="63513D"/>
                </a:solidFill>
                <a:effectLst/>
                <a:uLnTx/>
                <a:uFillTx/>
                <a:latin typeface="Nestle_Text Light" panose="000004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/05/23</a:t>
            </a:fld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63513D"/>
              </a:solidFill>
              <a:effectLst/>
              <a:uLnTx/>
              <a:uFillTx/>
              <a:latin typeface="Nestle_Tex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22468457-A38A-BD72-F960-F987ADEFBD17}"/>
              </a:ext>
            </a:extLst>
          </p:cNvPr>
          <p:cNvSpPr txBox="1">
            <a:spLocks/>
          </p:cNvSpPr>
          <p:nvPr/>
        </p:nvSpPr>
        <p:spPr>
          <a:xfrm>
            <a:off x="2116280" y="6533660"/>
            <a:ext cx="2581200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Nestle_Text Light" panose="000004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r-FR" sz="800" b="0" i="0" u="none" strike="noStrike" kern="1200" cap="none" spc="0" normalizeH="0" baseline="0" noProof="0" dirty="0">
                <a:ln>
                  <a:noFill/>
                </a:ln>
                <a:solidFill>
                  <a:srgbClr val="63513D"/>
                </a:solidFill>
                <a:effectLst/>
                <a:uLnTx/>
                <a:uFillTx/>
                <a:latin typeface="Nestle_Text Light" panose="00000400000000000000" pitchFamily="2" charset="0"/>
                <a:ea typeface="+mn-ea"/>
                <a:cs typeface="+mn-cs"/>
              </a:rPr>
              <a:t>SEE Business Review  H1 – March 2023</a:t>
            </a:r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63513D"/>
              </a:solidFill>
              <a:effectLst/>
              <a:uLnTx/>
              <a:uFillTx/>
              <a:latin typeface="Nestle_Text Light" panose="00000400000000000000" pitchFamily="2" charset="0"/>
              <a:ea typeface="+mn-ea"/>
              <a:cs typeface="+mn-cs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E1FA65C-061E-599B-8764-004278AE54E8}"/>
              </a:ext>
            </a:extLst>
          </p:cNvPr>
          <p:cNvSpPr txBox="1">
            <a:spLocks/>
          </p:cNvSpPr>
          <p:nvPr/>
        </p:nvSpPr>
        <p:spPr>
          <a:xfrm>
            <a:off x="366680" y="6533660"/>
            <a:ext cx="302400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Nestle_Text Light" panose="000004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595D2B-2352-4EF6-851E-B013A6FEC119}" type="slidenum">
              <a:rPr kumimoji="0" lang="uk-UA" sz="800" b="0" i="0" u="none" strike="noStrike" kern="1200" cap="none" spc="0" normalizeH="0" baseline="0" noProof="0" smtClean="0">
                <a:ln>
                  <a:noFill/>
                </a:ln>
                <a:solidFill>
                  <a:srgbClr val="63513D"/>
                </a:solidFill>
                <a:effectLst/>
                <a:uLnTx/>
                <a:uFillTx/>
                <a:latin typeface="Nestle_Text Light" panose="000004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uk-UA" sz="800" b="0" i="0" u="none" strike="noStrike" kern="1200" cap="none" spc="0" normalizeH="0" baseline="0" noProof="0" dirty="0">
              <a:ln>
                <a:noFill/>
              </a:ln>
              <a:solidFill>
                <a:srgbClr val="63513D"/>
              </a:solidFill>
              <a:effectLst/>
              <a:uLnTx/>
              <a:uFillTx/>
              <a:latin typeface="Nestle_Text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5519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9EBEC6CE-0890-42D3-9F04-546A31423A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478" y="1872041"/>
            <a:ext cx="2877585" cy="2115171"/>
          </a:xfrm>
          <a:custGeom>
            <a:avLst/>
            <a:gdLst>
              <a:gd name="connsiteX0" fmla="*/ 0 w 2877585"/>
              <a:gd name="connsiteY0" fmla="*/ 0 h 2115171"/>
              <a:gd name="connsiteX1" fmla="*/ 489189 w 2877585"/>
              <a:gd name="connsiteY1" fmla="*/ 0 h 2115171"/>
              <a:gd name="connsiteX2" fmla="*/ 1007155 w 2877585"/>
              <a:gd name="connsiteY2" fmla="*/ 0 h 2115171"/>
              <a:gd name="connsiteX3" fmla="*/ 1525120 w 2877585"/>
              <a:gd name="connsiteY3" fmla="*/ 0 h 2115171"/>
              <a:gd name="connsiteX4" fmla="*/ 2100637 w 2877585"/>
              <a:gd name="connsiteY4" fmla="*/ 0 h 2115171"/>
              <a:gd name="connsiteX5" fmla="*/ 2877585 w 2877585"/>
              <a:gd name="connsiteY5" fmla="*/ 0 h 2115171"/>
              <a:gd name="connsiteX6" fmla="*/ 2877585 w 2877585"/>
              <a:gd name="connsiteY6" fmla="*/ 571096 h 2115171"/>
              <a:gd name="connsiteX7" fmla="*/ 2877585 w 2877585"/>
              <a:gd name="connsiteY7" fmla="*/ 1057586 h 2115171"/>
              <a:gd name="connsiteX8" fmla="*/ 2877585 w 2877585"/>
              <a:gd name="connsiteY8" fmla="*/ 1565227 h 2115171"/>
              <a:gd name="connsiteX9" fmla="*/ 2877585 w 2877585"/>
              <a:gd name="connsiteY9" fmla="*/ 2115171 h 2115171"/>
              <a:gd name="connsiteX10" fmla="*/ 2388396 w 2877585"/>
              <a:gd name="connsiteY10" fmla="*/ 2115171 h 2115171"/>
              <a:gd name="connsiteX11" fmla="*/ 1755327 w 2877585"/>
              <a:gd name="connsiteY11" fmla="*/ 2115171 h 2115171"/>
              <a:gd name="connsiteX12" fmla="*/ 1122258 w 2877585"/>
              <a:gd name="connsiteY12" fmla="*/ 2115171 h 2115171"/>
              <a:gd name="connsiteX13" fmla="*/ 633069 w 2877585"/>
              <a:gd name="connsiteY13" fmla="*/ 2115171 h 2115171"/>
              <a:gd name="connsiteX14" fmla="*/ 0 w 2877585"/>
              <a:gd name="connsiteY14" fmla="*/ 2115171 h 2115171"/>
              <a:gd name="connsiteX15" fmla="*/ 0 w 2877585"/>
              <a:gd name="connsiteY15" fmla="*/ 1649833 h 2115171"/>
              <a:gd name="connsiteX16" fmla="*/ 0 w 2877585"/>
              <a:gd name="connsiteY16" fmla="*/ 1099889 h 2115171"/>
              <a:gd name="connsiteX17" fmla="*/ 0 w 2877585"/>
              <a:gd name="connsiteY17" fmla="*/ 592248 h 2115171"/>
              <a:gd name="connsiteX18" fmla="*/ 0 w 2877585"/>
              <a:gd name="connsiteY18" fmla="*/ 0 h 2115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877585" h="2115171" fill="none" extrusionOk="0">
                <a:moveTo>
                  <a:pt x="0" y="0"/>
                </a:moveTo>
                <a:cubicBezTo>
                  <a:pt x="102626" y="-1316"/>
                  <a:pt x="337257" y="14241"/>
                  <a:pt x="489189" y="0"/>
                </a:cubicBezTo>
                <a:cubicBezTo>
                  <a:pt x="641121" y="-14241"/>
                  <a:pt x="859125" y="-23701"/>
                  <a:pt x="1007155" y="0"/>
                </a:cubicBezTo>
                <a:cubicBezTo>
                  <a:pt x="1155185" y="23701"/>
                  <a:pt x="1400171" y="10500"/>
                  <a:pt x="1525120" y="0"/>
                </a:cubicBezTo>
                <a:cubicBezTo>
                  <a:pt x="1650069" y="-10500"/>
                  <a:pt x="1928105" y="-28592"/>
                  <a:pt x="2100637" y="0"/>
                </a:cubicBezTo>
                <a:cubicBezTo>
                  <a:pt x="2273169" y="28592"/>
                  <a:pt x="2540937" y="-17191"/>
                  <a:pt x="2877585" y="0"/>
                </a:cubicBezTo>
                <a:cubicBezTo>
                  <a:pt x="2898960" y="251012"/>
                  <a:pt x="2868564" y="399424"/>
                  <a:pt x="2877585" y="571096"/>
                </a:cubicBezTo>
                <a:cubicBezTo>
                  <a:pt x="2886606" y="742768"/>
                  <a:pt x="2879854" y="948254"/>
                  <a:pt x="2877585" y="1057586"/>
                </a:cubicBezTo>
                <a:cubicBezTo>
                  <a:pt x="2875317" y="1166918"/>
                  <a:pt x="2899996" y="1343617"/>
                  <a:pt x="2877585" y="1565227"/>
                </a:cubicBezTo>
                <a:cubicBezTo>
                  <a:pt x="2855174" y="1786837"/>
                  <a:pt x="2870226" y="1849506"/>
                  <a:pt x="2877585" y="2115171"/>
                </a:cubicBezTo>
                <a:cubicBezTo>
                  <a:pt x="2698635" y="2115497"/>
                  <a:pt x="2568600" y="2099594"/>
                  <a:pt x="2388396" y="2115171"/>
                </a:cubicBezTo>
                <a:cubicBezTo>
                  <a:pt x="2208192" y="2130748"/>
                  <a:pt x="2019564" y="2129580"/>
                  <a:pt x="1755327" y="2115171"/>
                </a:cubicBezTo>
                <a:cubicBezTo>
                  <a:pt x="1491090" y="2100762"/>
                  <a:pt x="1371712" y="2118552"/>
                  <a:pt x="1122258" y="2115171"/>
                </a:cubicBezTo>
                <a:cubicBezTo>
                  <a:pt x="872804" y="2111790"/>
                  <a:pt x="760298" y="2096706"/>
                  <a:pt x="633069" y="2115171"/>
                </a:cubicBezTo>
                <a:cubicBezTo>
                  <a:pt x="505840" y="2133636"/>
                  <a:pt x="255018" y="2132694"/>
                  <a:pt x="0" y="2115171"/>
                </a:cubicBezTo>
                <a:cubicBezTo>
                  <a:pt x="-11093" y="1905462"/>
                  <a:pt x="1174" y="1851600"/>
                  <a:pt x="0" y="1649833"/>
                </a:cubicBezTo>
                <a:cubicBezTo>
                  <a:pt x="-1174" y="1448066"/>
                  <a:pt x="-17792" y="1350023"/>
                  <a:pt x="0" y="1099889"/>
                </a:cubicBezTo>
                <a:cubicBezTo>
                  <a:pt x="17792" y="849755"/>
                  <a:pt x="-6902" y="711185"/>
                  <a:pt x="0" y="592248"/>
                </a:cubicBezTo>
                <a:cubicBezTo>
                  <a:pt x="6902" y="473311"/>
                  <a:pt x="-688" y="253423"/>
                  <a:pt x="0" y="0"/>
                </a:cubicBezTo>
                <a:close/>
              </a:path>
              <a:path w="2877585" h="2115171" stroke="0" extrusionOk="0">
                <a:moveTo>
                  <a:pt x="0" y="0"/>
                </a:moveTo>
                <a:cubicBezTo>
                  <a:pt x="217350" y="10803"/>
                  <a:pt x="245217" y="-3798"/>
                  <a:pt x="489189" y="0"/>
                </a:cubicBezTo>
                <a:cubicBezTo>
                  <a:pt x="733161" y="3798"/>
                  <a:pt x="865615" y="-14808"/>
                  <a:pt x="978379" y="0"/>
                </a:cubicBezTo>
                <a:cubicBezTo>
                  <a:pt x="1091143" y="14808"/>
                  <a:pt x="1282946" y="18383"/>
                  <a:pt x="1553896" y="0"/>
                </a:cubicBezTo>
                <a:cubicBezTo>
                  <a:pt x="1824846" y="-18383"/>
                  <a:pt x="1904828" y="-4150"/>
                  <a:pt x="2186965" y="0"/>
                </a:cubicBezTo>
                <a:cubicBezTo>
                  <a:pt x="2469102" y="4150"/>
                  <a:pt x="2559034" y="-5867"/>
                  <a:pt x="2877585" y="0"/>
                </a:cubicBezTo>
                <a:cubicBezTo>
                  <a:pt x="2900349" y="175249"/>
                  <a:pt x="2900089" y="259852"/>
                  <a:pt x="2877585" y="507641"/>
                </a:cubicBezTo>
                <a:cubicBezTo>
                  <a:pt x="2855081" y="755430"/>
                  <a:pt x="2883458" y="880232"/>
                  <a:pt x="2877585" y="1078737"/>
                </a:cubicBezTo>
                <a:cubicBezTo>
                  <a:pt x="2871712" y="1277242"/>
                  <a:pt x="2899970" y="1438364"/>
                  <a:pt x="2877585" y="1544075"/>
                </a:cubicBezTo>
                <a:cubicBezTo>
                  <a:pt x="2855200" y="1649786"/>
                  <a:pt x="2887595" y="1942758"/>
                  <a:pt x="2877585" y="2115171"/>
                </a:cubicBezTo>
                <a:cubicBezTo>
                  <a:pt x="2600074" y="2121273"/>
                  <a:pt x="2550920" y="2130265"/>
                  <a:pt x="2244516" y="2115171"/>
                </a:cubicBezTo>
                <a:cubicBezTo>
                  <a:pt x="1938112" y="2100077"/>
                  <a:pt x="1806943" y="2107366"/>
                  <a:pt x="1640223" y="2115171"/>
                </a:cubicBezTo>
                <a:cubicBezTo>
                  <a:pt x="1473503" y="2122976"/>
                  <a:pt x="1379676" y="2136300"/>
                  <a:pt x="1151034" y="2115171"/>
                </a:cubicBezTo>
                <a:cubicBezTo>
                  <a:pt x="922392" y="2094042"/>
                  <a:pt x="810739" y="2135699"/>
                  <a:pt x="517965" y="2115171"/>
                </a:cubicBezTo>
                <a:cubicBezTo>
                  <a:pt x="225191" y="2094643"/>
                  <a:pt x="211330" y="2105433"/>
                  <a:pt x="0" y="2115171"/>
                </a:cubicBezTo>
                <a:cubicBezTo>
                  <a:pt x="16297" y="1897373"/>
                  <a:pt x="26325" y="1786160"/>
                  <a:pt x="0" y="1586378"/>
                </a:cubicBezTo>
                <a:cubicBezTo>
                  <a:pt x="-26325" y="1386596"/>
                  <a:pt x="11140" y="1215393"/>
                  <a:pt x="0" y="1015282"/>
                </a:cubicBezTo>
                <a:cubicBezTo>
                  <a:pt x="-11140" y="815171"/>
                  <a:pt x="-20123" y="703080"/>
                  <a:pt x="0" y="549944"/>
                </a:cubicBezTo>
                <a:cubicBezTo>
                  <a:pt x="20123" y="396808"/>
                  <a:pt x="-24773" y="250014"/>
                  <a:pt x="0" y="0"/>
                </a:cubicBezTo>
                <a:close/>
              </a:path>
            </a:pathLst>
          </a:custGeom>
          <a:solidFill>
            <a:srgbClr val="00A0DC">
              <a:alpha val="23000"/>
            </a:srgbClr>
          </a:solidFill>
          <a:ln w="19050">
            <a:solidFill>
              <a:srgbClr val="00A0DC"/>
            </a:solidFill>
            <a:extLst>
              <a:ext uri="{C807C97D-BFC1-408E-A445-0C87EB9F89A2}">
                <ask:lineSketchStyleProps xmlns:ask="http://schemas.microsoft.com/office/drawing/2018/sketchyshapes" sd="1033728967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B48DA93-1E08-4423-B0AD-4E0D23FCE2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729" y="3328343"/>
            <a:ext cx="2202633" cy="16519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BE927D4-4C2C-4CEB-A3A4-1987FA025E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5180" y="5229311"/>
            <a:ext cx="1873078" cy="1485772"/>
          </a:xfrm>
          <a:prstGeom prst="rect">
            <a:avLst/>
          </a:prstGeom>
        </p:spPr>
      </p:pic>
      <p:pic>
        <p:nvPicPr>
          <p:cNvPr id="17" name="Рисунок 7">
            <a:extLst>
              <a:ext uri="{FF2B5EF4-FFF2-40B4-BE49-F238E27FC236}">
                <a16:creationId xmlns:a16="http://schemas.microsoft.com/office/drawing/2014/main" id="{B59A6827-37C0-46CC-81F0-C8D6EF00A30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478" t="-4987" r="-22817" b="-7530"/>
          <a:stretch/>
        </p:blipFill>
        <p:spPr>
          <a:xfrm>
            <a:off x="2158141" y="3814412"/>
            <a:ext cx="1440117" cy="1136873"/>
          </a:xfrm>
          <a:prstGeom prst="ellipse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A134DA4F-24FB-42D6-A6A4-A566FB36C384}"/>
              </a:ext>
            </a:extLst>
          </p:cNvPr>
          <p:cNvGrpSpPr/>
          <p:nvPr/>
        </p:nvGrpSpPr>
        <p:grpSpPr>
          <a:xfrm>
            <a:off x="35079" y="755557"/>
            <a:ext cx="3391277" cy="1035317"/>
            <a:chOff x="-1523116" y="172709"/>
            <a:chExt cx="3391277" cy="1035317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AF9343F1-EB09-4DCA-90BB-2678EC46513E}"/>
                </a:ext>
              </a:extLst>
            </p:cNvPr>
            <p:cNvSpPr/>
            <p:nvPr/>
          </p:nvSpPr>
          <p:spPr>
            <a:xfrm>
              <a:off x="-1523116" y="172709"/>
              <a:ext cx="3391277" cy="1035317"/>
            </a:xfrm>
            <a:prstGeom prst="roundRect">
              <a:avLst>
                <a:gd name="adj" fmla="val 44828"/>
              </a:avLst>
            </a:prstGeom>
            <a:solidFill>
              <a:srgbClr val="614E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E29C53F-FF54-4B79-9C1A-56D405EED725}"/>
                </a:ext>
              </a:extLst>
            </p:cNvPr>
            <p:cNvSpPr txBox="1"/>
            <p:nvPr/>
          </p:nvSpPr>
          <p:spPr>
            <a:xfrm>
              <a:off x="-1227083" y="251978"/>
              <a:ext cx="2096614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estle Text TF Book Cnd" panose="00000506000000000000" pitchFamily="2" charset="0"/>
                  <a:ea typeface="+mn-ea"/>
                  <a:cs typeface="Nestle Text TF AR Book" panose="00000500000000000000" pitchFamily="2" charset="0"/>
                </a:rPr>
                <a:t>Focus on Physical, Financial and Mental safety</a:t>
              </a:r>
            </a:p>
          </p:txBody>
        </p:sp>
      </p:grpSp>
      <p:sp>
        <p:nvSpPr>
          <p:cNvPr id="21" name="Oval 20">
            <a:extLst>
              <a:ext uri="{FF2B5EF4-FFF2-40B4-BE49-F238E27FC236}">
                <a16:creationId xmlns:a16="http://schemas.microsoft.com/office/drawing/2014/main" id="{0B64C0F7-90EF-4F5A-9487-F2F5FB324E4F}"/>
              </a:ext>
            </a:extLst>
          </p:cNvPr>
          <p:cNvSpPr/>
          <p:nvPr/>
        </p:nvSpPr>
        <p:spPr>
          <a:xfrm>
            <a:off x="2441282" y="800144"/>
            <a:ext cx="945364" cy="936223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" name="Picture 21" descr="Icon&#10;&#10;Description automatically generated">
            <a:extLst>
              <a:ext uri="{FF2B5EF4-FFF2-40B4-BE49-F238E27FC236}">
                <a16:creationId xmlns:a16="http://schemas.microsoft.com/office/drawing/2014/main" id="{4A1DAF52-1D6A-45B3-A520-FB8F7A3F42F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2986" y="894160"/>
            <a:ext cx="676412" cy="676412"/>
          </a:xfrm>
          <a:prstGeom prst="rect">
            <a:avLst/>
          </a:prstGeom>
        </p:spPr>
      </p:pic>
      <p:pic>
        <p:nvPicPr>
          <p:cNvPr id="23" name="Picture 22" descr="A picture containing indoor, ceiling, building, floor&#10;&#10;Description automatically generated">
            <a:extLst>
              <a:ext uri="{FF2B5EF4-FFF2-40B4-BE49-F238E27FC236}">
                <a16:creationId xmlns:a16="http://schemas.microsoft.com/office/drawing/2014/main" id="{FCF0B999-6972-4210-9D8A-39EAFFDD6B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29" y="5054308"/>
            <a:ext cx="1474942" cy="1683383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AC79352-42D3-4BD0-81DA-FCF9E53A1015}"/>
              </a:ext>
            </a:extLst>
          </p:cNvPr>
          <p:cNvSpPr/>
          <p:nvPr/>
        </p:nvSpPr>
        <p:spPr>
          <a:xfrm>
            <a:off x="4176070" y="759624"/>
            <a:ext cx="3558475" cy="1035317"/>
          </a:xfrm>
          <a:prstGeom prst="roundRect">
            <a:avLst>
              <a:gd name="adj" fmla="val 44828"/>
            </a:avLst>
          </a:prstGeom>
          <a:solidFill>
            <a:srgbClr val="614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1F67DE9-5AF8-43E5-B04C-84A0D40C7A8F}"/>
              </a:ext>
            </a:extLst>
          </p:cNvPr>
          <p:cNvSpPr txBox="1"/>
          <p:nvPr/>
        </p:nvSpPr>
        <p:spPr>
          <a:xfrm>
            <a:off x="4462731" y="861940"/>
            <a:ext cx="228458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stle Text TF Book Cnd" panose="00000506000000000000" pitchFamily="2" charset="0"/>
                <a:ea typeface="+mn-ea"/>
                <a:cs typeface="Nestle Text TF AR Book" panose="00000500000000000000" pitchFamily="2" charset="0"/>
              </a:rPr>
              <a:t>Keep business continuity, </a:t>
            </a:r>
            <a:r>
              <a:rPr lang="en-US" sz="2000" dirty="0">
                <a:solidFill>
                  <a:prstClr val="white"/>
                </a:solidFill>
                <a:latin typeface="Nestle Text TF Book Cnd" panose="00000506000000000000" pitchFamily="2" charset="0"/>
                <a:cs typeface="Nestle Text TF AR Book" panose="00000500000000000000" pitchFamily="2" charset="0"/>
              </a:rPr>
              <a:t>Safeguard Asset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stle Text TF Book Cnd" panose="00000506000000000000" pitchFamily="2" charset="0"/>
                <a:ea typeface="+mn-ea"/>
                <a:cs typeface="Nestle Text TF AR Book" panose="00000500000000000000" pitchFamily="2" charset="0"/>
              </a:rPr>
              <a:t> 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B668DD1-1398-4CDA-BB50-41B374BE2C3D}"/>
              </a:ext>
            </a:extLst>
          </p:cNvPr>
          <p:cNvSpPr/>
          <p:nvPr/>
        </p:nvSpPr>
        <p:spPr>
          <a:xfrm>
            <a:off x="6768249" y="804211"/>
            <a:ext cx="945364" cy="936223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8" name="Picture 27" descr="Logo, icon&#10;&#10;Description automatically generated">
            <a:extLst>
              <a:ext uri="{FF2B5EF4-FFF2-40B4-BE49-F238E27FC236}">
                <a16:creationId xmlns:a16="http://schemas.microsoft.com/office/drawing/2014/main" id="{A3B72E07-2F0C-4DF5-9963-8FB3070C8822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3052" y="875094"/>
            <a:ext cx="715740" cy="71574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BD54F0F-D189-4F24-B8CE-B515454305B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49423" y="3548297"/>
            <a:ext cx="2224086" cy="1669101"/>
          </a:xfrm>
          <a:prstGeom prst="rect">
            <a:avLst/>
          </a:prstGeom>
        </p:spPr>
      </p:pic>
      <p:pic>
        <p:nvPicPr>
          <p:cNvPr id="31" name="Picture 30" descr="Logo, company name&#10;&#10;Description automatically generated">
            <a:extLst>
              <a:ext uri="{FF2B5EF4-FFF2-40B4-BE49-F238E27FC236}">
                <a16:creationId xmlns:a16="http://schemas.microsoft.com/office/drawing/2014/main" id="{3ADEC404-A45D-4434-B8DF-E86C749A3D1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403" y="2261247"/>
            <a:ext cx="1752761" cy="98592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1E09C9A-0CFB-4E12-A312-B22AE1989F1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331100" y="1917428"/>
            <a:ext cx="2426617" cy="1771203"/>
          </a:xfrm>
          <a:prstGeom prst="rect">
            <a:avLst/>
          </a:prstGeom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16EF65BB-A76D-4848-BBD4-9DAB31E88416}"/>
              </a:ext>
            </a:extLst>
          </p:cNvPr>
          <p:cNvSpPr/>
          <p:nvPr/>
        </p:nvSpPr>
        <p:spPr>
          <a:xfrm>
            <a:off x="8386834" y="755557"/>
            <a:ext cx="3558475" cy="1035317"/>
          </a:xfrm>
          <a:prstGeom prst="roundRect">
            <a:avLst>
              <a:gd name="adj" fmla="val 44828"/>
            </a:avLst>
          </a:prstGeom>
          <a:solidFill>
            <a:srgbClr val="614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estle Text TF Book Cnd" panose="00000506000000000000" pitchFamily="2" charset="0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D2A5AB7-2B38-4D06-984E-84E6E476A022}"/>
              </a:ext>
            </a:extLst>
          </p:cNvPr>
          <p:cNvSpPr txBox="1"/>
          <p:nvPr/>
        </p:nvSpPr>
        <p:spPr>
          <a:xfrm>
            <a:off x="8666275" y="852756"/>
            <a:ext cx="240546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stle Text TF Book Cnd" panose="00000506000000000000" pitchFamily="2" charset="0"/>
                <a:ea typeface="+mn-ea"/>
                <a:cs typeface="Nestle Text TF AR Book" panose="00000500000000000000" pitchFamily="2" charset="0"/>
              </a:rPr>
              <a:t>Support Ukraine &amp; Ukrainian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stle Text TF Book Cnd" panose="00000506000000000000" pitchFamily="2" charset="0"/>
                <a:ea typeface="+mn-ea"/>
                <a:cs typeface="Nestle Text TF AR Book" panose="00000500000000000000" pitchFamily="2" charset="0"/>
              </a:rPr>
              <a:t>Be a Force for Good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37F25DEB-C2BE-40F6-A6D6-C01A8E9EA644}"/>
              </a:ext>
            </a:extLst>
          </p:cNvPr>
          <p:cNvSpPr/>
          <p:nvPr/>
        </p:nvSpPr>
        <p:spPr>
          <a:xfrm>
            <a:off x="10979013" y="800144"/>
            <a:ext cx="945364" cy="936223"/>
          </a:xfrm>
          <a:prstGeom prst="ellipse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estle Text TF Book Cnd" panose="00000506000000000000" pitchFamily="2" charset="0"/>
              <a:ea typeface="+mn-ea"/>
              <a:cs typeface="+mn-cs"/>
            </a:endParaRPr>
          </a:p>
        </p:txBody>
      </p:sp>
      <p:pic>
        <p:nvPicPr>
          <p:cNvPr id="41" name="Picture 40" descr="Icon&#10;&#10;Description automatically generated">
            <a:extLst>
              <a:ext uri="{FF2B5EF4-FFF2-40B4-BE49-F238E27FC236}">
                <a16:creationId xmlns:a16="http://schemas.microsoft.com/office/drawing/2014/main" id="{3D0A10BC-00AB-44FC-9609-38D18630A595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670" y="924908"/>
            <a:ext cx="718050" cy="718050"/>
          </a:xfrm>
          <a:prstGeom prst="rect">
            <a:avLst/>
          </a:prstGeom>
        </p:spPr>
      </p:pic>
      <p:pic>
        <p:nvPicPr>
          <p:cNvPr id="42" name="Picture 41" descr="A picture containing text, person, sky, standing&#10;&#10;Description automatically generated">
            <a:extLst>
              <a:ext uri="{FF2B5EF4-FFF2-40B4-BE49-F238E27FC236}">
                <a16:creationId xmlns:a16="http://schemas.microsoft.com/office/drawing/2014/main" id="{744DDE48-C3A3-464D-847B-8FA22C744C9F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91"/>
          <a:stretch/>
        </p:blipFill>
        <p:spPr>
          <a:xfrm>
            <a:off x="8475953" y="1957535"/>
            <a:ext cx="2008161" cy="1430227"/>
          </a:xfrm>
          <a:prstGeom prst="rect">
            <a:avLst/>
          </a:prstGeom>
        </p:spPr>
      </p:pic>
      <p:pic>
        <p:nvPicPr>
          <p:cNvPr id="43" name="Picture 42" descr="A baby sitting on a couch&#10;&#10;Description automatically generated with medium confidence">
            <a:extLst>
              <a:ext uri="{FF2B5EF4-FFF2-40B4-BE49-F238E27FC236}">
                <a16:creationId xmlns:a16="http://schemas.microsoft.com/office/drawing/2014/main" id="{341EB8C3-5501-4446-A587-5D3137973C2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0341" y="2929626"/>
            <a:ext cx="1943764" cy="1605371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D2C2E1EC-22BD-4AC8-8812-8A80644C5495}"/>
              </a:ext>
            </a:extLst>
          </p:cNvPr>
          <p:cNvSpPr txBox="1"/>
          <p:nvPr/>
        </p:nvSpPr>
        <p:spPr>
          <a:xfrm>
            <a:off x="53509" y="107732"/>
            <a:ext cx="1200059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chemeClr val="accent4">
                    <a:lumMod val="50000"/>
                  </a:schemeClr>
                </a:solidFill>
                <a:latin typeface="Nestle Text TF VN Book Cnd" panose="00000506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R</a:t>
            </a:r>
            <a:r>
              <a:rPr lang="en-US" sz="2800" b="1" dirty="0">
                <a:solidFill>
                  <a:schemeClr val="accent4">
                    <a:lumMod val="50000"/>
                  </a:schemeClr>
                </a:solidFill>
                <a:effectLst/>
                <a:latin typeface="Nestle Text TF VN Book Cnd" panose="00000506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e-defined playbook of the Leadership priorities for Nestlé Ukraine </a:t>
            </a:r>
            <a:endParaRPr lang="en-US" sz="28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1907DD-9799-79E2-E230-49589D8990A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107374" y="4146391"/>
            <a:ext cx="2684010" cy="25593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CD416BF-8336-D22B-818A-C9ED0D6D0F1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267187" y="4359853"/>
            <a:ext cx="2104671" cy="2261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772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SEE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Nestlé 16:9">
  <a:themeElements>
    <a:clrScheme name="Nestle 2020">
      <a:dk1>
        <a:srgbClr val="000000"/>
      </a:dk1>
      <a:lt1>
        <a:srgbClr val="FFFFFF"/>
      </a:lt1>
      <a:dk2>
        <a:srgbClr val="63513D"/>
      </a:dk2>
      <a:lt2>
        <a:srgbClr val="EFEDEB"/>
      </a:lt2>
      <a:accent1>
        <a:srgbClr val="1C9CC8"/>
      </a:accent1>
      <a:accent2>
        <a:srgbClr val="C6007E"/>
      </a:accent2>
      <a:accent3>
        <a:srgbClr val="AC4FC6"/>
      </a:accent3>
      <a:accent4>
        <a:srgbClr val="64A70B"/>
      </a:accent4>
      <a:accent5>
        <a:srgbClr val="FFC600"/>
      </a:accent5>
      <a:accent6>
        <a:srgbClr val="FB6035"/>
      </a:accent6>
      <a:hlink>
        <a:srgbClr val="1C9CC8"/>
      </a:hlink>
      <a:folHlink>
        <a:srgbClr val="6EA70B"/>
      </a:folHlink>
    </a:clrScheme>
    <a:fontScheme name="Nestle">
      <a:majorFont>
        <a:latin typeface="Nestle_Text Book"/>
        <a:ea typeface=""/>
        <a:cs typeface=""/>
      </a:majorFont>
      <a:minorFont>
        <a:latin typeface="Nestle_Tex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custClrLst>
    <a:custClr name="Pantone 291C">
      <a:srgbClr val="9BCBEB"/>
    </a:custClr>
    <a:custClr name="Pantone 324 C">
      <a:srgbClr val="9CDBD9"/>
    </a:custClr>
    <a:custClr name="Pantone 367 C">
      <a:srgbClr val="A4D65E"/>
    </a:custClr>
    <a:custClr name="Pantone 106 C">
      <a:srgbClr val="FFEF5F"/>
    </a:custClr>
    <a:custClr name="Pantone 151 C">
      <a:srgbClr val="FF9A36"/>
    </a:custClr>
    <a:custClr name="Pantone 178 C">
      <a:srgbClr val="FF585D"/>
    </a:custClr>
    <a:custClr name="Pantone 224 C">
      <a:srgbClr val="EB6FBD"/>
    </a:custClr>
    <a:custClr name="Pantone 2572 C">
      <a:srgbClr val="C98BDB"/>
    </a:custClr>
    <a:custClr name="Color has no name">
      <a:srgbClr val="FFFFFF"/>
    </a:custClr>
    <a:custClr name="Color has no name">
      <a:srgbClr val="FFFFFF"/>
    </a:custClr>
    <a:custClr name="Pantone 299 C">
      <a:srgbClr val="1C9CC8"/>
    </a:custClr>
    <a:custClr name="Pantone 326 C">
      <a:srgbClr val="00B2A9"/>
    </a:custClr>
    <a:custClr name="Pantone 369 C">
      <a:srgbClr val="64A70B"/>
    </a:custClr>
    <a:custClr name="Pantone 7548 C">
      <a:srgbClr val="FFC600"/>
    </a:custClr>
    <a:custClr name="Pantone 1655 C">
      <a:srgbClr val="FB6035"/>
    </a:custClr>
    <a:custClr name="Pantone 206 C">
      <a:srgbClr val="CE0037"/>
    </a:custClr>
    <a:custClr name="Pantone 233 C">
      <a:srgbClr val="C6007E"/>
    </a:custClr>
    <a:custClr name="Pantone 2582 C">
      <a:srgbClr val="AC4FC6"/>
    </a:custClr>
    <a:custClr name="Color has no name">
      <a:srgbClr val="FFFFFF"/>
    </a:custClr>
    <a:custClr name="Color has no name">
      <a:srgbClr val="FFFFFF"/>
    </a:custClr>
    <a:custClr name="Pantone 641 C">
      <a:srgbClr val="0067A0"/>
    </a:custClr>
    <a:custClr name=" Pantone 7474 C">
      <a:srgbClr val="007681"/>
    </a:custClr>
    <a:custClr name="Pantone 349 C">
      <a:srgbClr val="046A38"/>
    </a:custClr>
    <a:custClr name="Pantone 130 C">
      <a:srgbClr val="F2A900"/>
    </a:custClr>
    <a:custClr name="Pantone 7597 C">
      <a:srgbClr val="D14124"/>
    </a:custClr>
    <a:custClr name="Pantone 207C">
      <a:srgbClr val="A50034"/>
    </a:custClr>
    <a:custClr name="Pantone 228 C">
      <a:srgbClr val="890C58"/>
    </a:custClr>
    <a:custClr name="Pantone 259 C">
      <a:srgbClr val="6D2077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2020.03.11-12 ZET extended F&amp;C" id="{1921C3AA-D131-43F0-B9C7-B6661FAA3223}" vid="{C8B39872-4EE4-45F3-A4EE-331995192865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.xml"/></Relationships>
</file>

<file path=customXml/_rels/item10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0.xml"/></Relationships>
</file>

<file path=customXml/_rels/item10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1.xml"/></Relationships>
</file>

<file path=customXml/_rels/item10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2.xml"/></Relationships>
</file>

<file path=customXml/_rels/item10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3.xml"/></Relationships>
</file>

<file path=customXml/_rels/item10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4.xml"/></Relationships>
</file>

<file path=customXml/_rels/item10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5.xml"/></Relationships>
</file>

<file path=customXml/_rels/item10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6.xml"/></Relationships>
</file>

<file path=customXml/_rels/item10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7.xml"/></Relationships>
</file>

<file path=customXml/_rels/item10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8.xml"/></Relationships>
</file>

<file path=customXml/_rels/item10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9.xml"/></Relationships>
</file>

<file path=customXml/_rels/item1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.xml"/></Relationships>
</file>

<file path=customXml/_rels/item10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0.xml"/></Relationships>
</file>

<file path=customXml/_rels/item10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1.xml"/></Relationships>
</file>

<file path=customXml/_rels/item10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2.xml"/></Relationships>
</file>

<file path=customXml/_rels/item10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3.xml"/></Relationships>
</file>

<file path=customXml/_rels/item10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4.xml"/></Relationships>
</file>

<file path=customXml/_rels/item10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5.xml"/></Relationships>
</file>

<file path=customXml/_rels/item10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6.xml"/></Relationships>
</file>

<file path=customXml/_rels/item10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7.xml"/></Relationships>
</file>

<file path=customXml/_rels/item10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8.xml"/></Relationships>
</file>

<file path=customXml/_rels/item10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9.xml"/></Relationships>
</file>

<file path=customXml/_rels/item1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.xml"/></Relationships>
</file>

<file path=customXml/_rels/item10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0.xml"/></Relationships>
</file>

<file path=customXml/_rels/item10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1.xml"/></Relationships>
</file>

<file path=customXml/_rels/item10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2.xml"/></Relationships>
</file>

<file path=customXml/_rels/item10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3.xml"/></Relationships>
</file>

<file path=customXml/_rels/item10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4.xml"/></Relationships>
</file>

<file path=customXml/_rels/item10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5.xml"/></Relationships>
</file>

<file path=customXml/_rels/item10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6.xml"/></Relationships>
</file>

<file path=customXml/_rels/item10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7.xml"/></Relationships>
</file>

<file path=customXml/_rels/item10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8.xml"/></Relationships>
</file>

<file path=customXml/_rels/item10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9.xml"/></Relationships>
</file>

<file path=customXml/_rels/item1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.xml"/></Relationships>
</file>

<file path=customXml/_rels/item10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0.xml"/></Relationships>
</file>

<file path=customXml/_rels/item10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1.xml"/></Relationships>
</file>

<file path=customXml/_rels/item10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2.xml"/></Relationships>
</file>

<file path=customXml/_rels/item10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3.xml"/></Relationships>
</file>

<file path=customXml/_rels/item10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4.xml"/></Relationships>
</file>

<file path=customXml/_rels/item10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5.xml"/></Relationships>
</file>

<file path=customXml/_rels/item10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6.xml"/></Relationships>
</file>

<file path=customXml/_rels/item10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7.xml"/></Relationships>
</file>

<file path=customXml/_rels/item10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8.xml"/></Relationships>
</file>

<file path=customXml/_rels/item10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9.xml"/></Relationships>
</file>

<file path=customXml/_rels/item1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.xml"/></Relationships>
</file>

<file path=customXml/_rels/item10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0.xml"/></Relationships>
</file>

<file path=customXml/_rels/item10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1.xml"/></Relationships>
</file>

<file path=customXml/_rels/item10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2.xml"/></Relationships>
</file>

<file path=customXml/_rels/item10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3.xml"/></Relationships>
</file>

<file path=customXml/_rels/item10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4.xml"/></Relationships>
</file>

<file path=customXml/_rels/item10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5.xml"/></Relationships>
</file>

<file path=customXml/_rels/item10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6.xml"/></Relationships>
</file>

<file path=customXml/_rels/item10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7.xml"/></Relationships>
</file>

<file path=customXml/_rels/item10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8.xml"/></Relationships>
</file>

<file path=customXml/_rels/item10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9.xml"/></Relationships>
</file>

<file path=customXml/_rels/item1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.xml"/></Relationships>
</file>

<file path=customXml/_rels/item10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0.xml"/></Relationships>
</file>

<file path=customXml/_rels/item10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1.xml"/></Relationships>
</file>

<file path=customXml/_rels/item10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2.xml"/></Relationships>
</file>

<file path=customXml/_rels/item10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3.xml"/></Relationships>
</file>

<file path=customXml/_rels/item10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4.xml"/></Relationships>
</file>

<file path=customXml/_rels/item10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5.xml"/></Relationships>
</file>

<file path=customXml/_rels/item10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6.xml"/></Relationships>
</file>

<file path=customXml/_rels/item10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7.xml"/></Relationships>
</file>

<file path=customXml/_rels/item10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8.xml"/></Relationships>
</file>

<file path=customXml/_rels/item10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9.xml"/></Relationships>
</file>

<file path=customXml/_rels/item1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.xml"/></Relationships>
</file>

<file path=customXml/_rels/item10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0.xml"/></Relationships>
</file>

<file path=customXml/_rels/item10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1.xml"/></Relationships>
</file>

<file path=customXml/_rels/item10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2.xml"/></Relationships>
</file>

<file path=customXml/_rels/item10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3.xml"/></Relationships>
</file>

<file path=customXml/_rels/item10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4.xml"/></Relationships>
</file>

<file path=customXml/_rels/item10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5.xml"/></Relationships>
</file>

<file path=customXml/_rels/item10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6.xml"/></Relationships>
</file>

<file path=customXml/_rels/item10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7.xml"/></Relationships>
</file>

<file path=customXml/_rels/item10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8.xml"/></Relationships>
</file>

<file path=customXml/_rels/item10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9.xml"/></Relationships>
</file>

<file path=customXml/_rels/item1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.xml"/></Relationships>
</file>

<file path=customXml/_rels/item10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0.xml"/></Relationships>
</file>

<file path=customXml/_rels/item10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1.xml"/></Relationships>
</file>

<file path=customXml/_rels/item10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2.xml"/></Relationships>
</file>

<file path=customXml/_rels/item10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3.xml"/></Relationships>
</file>

<file path=customXml/_rels/item10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4.xml"/></Relationships>
</file>

<file path=customXml/_rels/item10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5.xml"/></Relationships>
</file>

<file path=customXml/_rels/item10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6.xml"/></Relationships>
</file>

<file path=customXml/_rels/item10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7.xml"/></Relationships>
</file>

<file path=customXml/_rels/item10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8.xml"/></Relationships>
</file>

<file path=customXml/_rels/item10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9.xml"/></Relationships>
</file>

<file path=customXml/_rels/item1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.xml"/></Relationships>
</file>

<file path=customXml/_rels/item10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0.xml"/></Relationships>
</file>

<file path=customXml/_rels/item10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1.xml"/></Relationships>
</file>

<file path=customXml/_rels/item10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2.xml"/></Relationships>
</file>

<file path=customXml/_rels/item10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3.xml"/></Relationships>
</file>

<file path=customXml/_rels/item10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4.xml"/></Relationships>
</file>

<file path=customXml/_rels/item10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5.xml"/></Relationships>
</file>

<file path=customXml/_rels/item10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6.xml"/></Relationships>
</file>

<file path=customXml/_rels/item10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7.xml"/></Relationships>
</file>

<file path=customXml/_rels/item10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8.xml"/></Relationships>
</file>

<file path=customXml/_rels/item10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9.xml"/></Relationships>
</file>

<file path=customXml/_rels/item1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.xml"/></Relationships>
</file>

<file path=customXml/_rels/item10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0.xml"/></Relationships>
</file>

<file path=customXml/_rels/item10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1.xml"/></Relationships>
</file>

<file path=customXml/_rels/item10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2.xml"/></Relationships>
</file>

<file path=customXml/_rels/item10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3.xml"/></Relationships>
</file>

<file path=customXml/_rels/item10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4.xml"/></Relationships>
</file>

<file path=customXml/_rels/item10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5.xml"/></Relationships>
</file>

<file path=customXml/_rels/item10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6.xml"/></Relationships>
</file>

<file path=customXml/_rels/item10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7.xml"/></Relationships>
</file>

<file path=customXml/_rels/item10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8.xml"/></Relationships>
</file>

<file path=customXml/_rels/item10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9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.xml"/></Relationships>
</file>

<file path=customXml/_rels/item11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0.xml"/></Relationships>
</file>

<file path=customXml/_rels/item11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1.xml"/></Relationships>
</file>

<file path=customXml/_rels/item11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2.xml"/></Relationships>
</file>

<file path=customXml/_rels/item11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3.xml"/></Relationships>
</file>

<file path=customXml/_rels/item11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4.xml"/></Relationships>
</file>

<file path=customXml/_rels/item11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5.xml"/></Relationships>
</file>

<file path=customXml/_rels/item11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6.xml"/></Relationships>
</file>

<file path=customXml/_rels/item11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7.xml"/></Relationships>
</file>

<file path=customXml/_rels/item11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8.xml"/></Relationships>
</file>

<file path=customXml/_rels/item11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9.xml"/></Relationships>
</file>

<file path=customXml/_rels/item1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.xml"/></Relationships>
</file>

<file path=customXml/_rels/item11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0.xml"/></Relationships>
</file>

<file path=customXml/_rels/item11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1.xml"/></Relationships>
</file>

<file path=customXml/_rels/item11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2.xml"/></Relationships>
</file>

<file path=customXml/_rels/item11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3.xml"/></Relationships>
</file>

<file path=customXml/_rels/item11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4.xml"/></Relationships>
</file>

<file path=customXml/_rels/item11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5.xml"/></Relationships>
</file>

<file path=customXml/_rels/item11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6.xml"/></Relationships>
</file>

<file path=customXml/_rels/item11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7.xml"/></Relationships>
</file>

<file path=customXml/_rels/item11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8.xml"/></Relationships>
</file>

<file path=customXml/_rels/item11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9.xml"/></Relationships>
</file>

<file path=customXml/_rels/item1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.xml"/></Relationships>
</file>

<file path=customXml/_rels/item11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0.xml"/></Relationships>
</file>

<file path=customXml/_rels/item11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1.xml"/></Relationships>
</file>

<file path=customXml/_rels/item11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2.xml"/></Relationships>
</file>

<file path=customXml/_rels/item11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3.xml"/></Relationships>
</file>

<file path=customXml/_rels/item11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4.xml"/></Relationships>
</file>

<file path=customXml/_rels/item11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5.xml"/></Relationships>
</file>

<file path=customXml/_rels/item11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6.xml"/></Relationships>
</file>

<file path=customXml/_rels/item11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7.xml"/></Relationships>
</file>

<file path=customXml/_rels/item11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8.xml"/></Relationships>
</file>

<file path=customXml/_rels/item11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9.xml"/></Relationships>
</file>

<file path=customXml/_rels/item1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.xml"/></Relationships>
</file>

<file path=customXml/_rels/item11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0.xml"/></Relationships>
</file>

<file path=customXml/_rels/item11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1.xml"/></Relationships>
</file>

<file path=customXml/_rels/item11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2.xml"/></Relationships>
</file>

<file path=customXml/_rels/item11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3.xml"/></Relationships>
</file>

<file path=customXml/_rels/item11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4.xml"/></Relationships>
</file>

<file path=customXml/_rels/item11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5.xml"/></Relationships>
</file>

<file path=customXml/_rels/item11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6.xml"/></Relationships>
</file>

<file path=customXml/_rels/item11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7.xml"/></Relationships>
</file>

<file path=customXml/_rels/item11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8.xml"/></Relationships>
</file>

<file path=customXml/_rels/item11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9.xml"/></Relationships>
</file>

<file path=customXml/_rels/item1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.xml"/></Relationships>
</file>

<file path=customXml/_rels/item11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0.xml"/></Relationships>
</file>

<file path=customXml/_rels/item11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1.xml"/></Relationships>
</file>

<file path=customXml/_rels/item11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2.xml"/></Relationships>
</file>

<file path=customXml/_rels/item11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3.xml"/></Relationships>
</file>

<file path=customXml/_rels/item11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4.xml"/></Relationships>
</file>

<file path=customXml/_rels/item11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5.xml"/></Relationships>
</file>

<file path=customXml/_rels/item11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6.xml"/></Relationships>
</file>

<file path=customXml/_rels/item11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7.xml"/></Relationships>
</file>

<file path=customXml/_rels/item11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8.xml"/></Relationships>
</file>

<file path=customXml/_rels/item11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9.xml"/></Relationships>
</file>

<file path=customXml/_rels/item1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.xml"/></Relationships>
</file>

<file path=customXml/_rels/item11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0.xml"/></Relationships>
</file>

<file path=customXml/_rels/item11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1.xml"/></Relationships>
</file>

<file path=customXml/_rels/item11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2.xml"/></Relationships>
</file>

<file path=customXml/_rels/item11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3.xml"/></Relationships>
</file>

<file path=customXml/_rels/item11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4.xml"/></Relationships>
</file>

<file path=customXml/_rels/item11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5.xml"/></Relationships>
</file>

<file path=customXml/_rels/item11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6.xml"/></Relationships>
</file>

<file path=customXml/_rels/item11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7.xml"/></Relationships>
</file>

<file path=customXml/_rels/item11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8.xml"/></Relationships>
</file>

<file path=customXml/_rels/item11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9.xml"/></Relationships>
</file>

<file path=customXml/_rels/item1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.xml"/></Relationships>
</file>

<file path=customXml/_rels/item11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0.xml"/></Relationships>
</file>

<file path=customXml/_rels/item11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1.xml"/></Relationships>
</file>

<file path=customXml/_rels/item11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2.xml"/></Relationships>
</file>

<file path=customXml/_rels/item11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3.xml"/></Relationships>
</file>

<file path=customXml/_rels/item11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4.xml"/></Relationships>
</file>

<file path=customXml/_rels/item11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5.xml"/></Relationships>
</file>

<file path=customXml/_rels/item11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6.xml"/></Relationships>
</file>

<file path=customXml/_rels/item11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7.xml"/></Relationships>
</file>

<file path=customXml/_rels/item11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8.xml"/></Relationships>
</file>

<file path=customXml/_rels/item11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9.xml"/></Relationships>
</file>

<file path=customXml/_rels/item1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.xml"/></Relationships>
</file>

<file path=customXml/_rels/item11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0.xml"/></Relationships>
</file>

<file path=customXml/_rels/item11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1.xml"/></Relationships>
</file>

<file path=customXml/_rels/item11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2.xml"/></Relationships>
</file>

<file path=customXml/_rels/item11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3.xml"/></Relationships>
</file>

<file path=customXml/_rels/item11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4.xml"/></Relationships>
</file>

<file path=customXml/_rels/item11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5.xml"/></Relationships>
</file>

<file path=customXml/_rels/item11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6.xml"/></Relationships>
</file>

<file path=customXml/_rels/item11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7.xml"/></Relationships>
</file>

<file path=customXml/_rels/item11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8.xml"/></Relationships>
</file>

<file path=customXml/_rels/item11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9.xml"/></Relationships>
</file>

<file path=customXml/_rels/item1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.xml"/></Relationships>
</file>

<file path=customXml/_rels/item11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0.xml"/></Relationships>
</file>

<file path=customXml/_rels/item11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1.xml"/></Relationships>
</file>

<file path=customXml/_rels/item11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2.xml"/></Relationships>
</file>

<file path=customXml/_rels/item11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3.xml"/></Relationships>
</file>

<file path=customXml/_rels/item11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4.xml"/></Relationships>
</file>

<file path=customXml/_rels/item11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5.xml"/></Relationships>
</file>

<file path=customXml/_rels/item11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6.xml"/></Relationships>
</file>

<file path=customXml/_rels/item11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7.xml"/></Relationships>
</file>

<file path=customXml/_rels/item11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8.xml"/></Relationships>
</file>

<file path=customXml/_rels/item11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9.xml"/></Relationships>
</file>

<file path=customXml/_rels/item1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.xml"/></Relationships>
</file>

<file path=customXml/_rels/item11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0.xml"/></Relationships>
</file>

<file path=customXml/_rels/item11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1.xml"/></Relationships>
</file>

<file path=customXml/_rels/item11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2.xml"/></Relationships>
</file>

<file path=customXml/_rels/item11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3.xml"/></Relationships>
</file>

<file path=customXml/_rels/item11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4.xml"/></Relationships>
</file>

<file path=customXml/_rels/item11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5.xml"/></Relationships>
</file>

<file path=customXml/_rels/item11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6.xml"/></Relationships>
</file>

<file path=customXml/_rels/item11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7.xml"/></Relationships>
</file>

<file path=customXml/_rels/item11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8.xml"/></Relationships>
</file>

<file path=customXml/_rels/item11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9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.xml"/></Relationships>
</file>

<file path=customXml/_rels/item12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0.xml"/></Relationships>
</file>

<file path=customXml/_rels/item12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1.xml"/></Relationships>
</file>

<file path=customXml/_rels/item12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2.xml"/></Relationships>
</file>

<file path=customXml/_rels/item12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3.xml"/></Relationships>
</file>

<file path=customXml/_rels/item12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4.xml"/></Relationships>
</file>

<file path=customXml/_rels/item12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5.xml"/></Relationships>
</file>

<file path=customXml/_rels/item12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6.xml"/></Relationships>
</file>

<file path=customXml/_rels/item12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7.xml"/></Relationships>
</file>

<file path=customXml/_rels/item12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8.xml"/></Relationships>
</file>

<file path=customXml/_rels/item12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9.xml"/></Relationships>
</file>

<file path=customXml/_rels/item1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1.xml"/></Relationships>
</file>

<file path=customXml/_rels/item12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10.xml"/></Relationships>
</file>

<file path=customXml/_rels/item12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11.xml"/></Relationships>
</file>

<file path=customXml/_rels/item1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2.xml"/></Relationships>
</file>

<file path=customXml/_rels/item1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3.xml"/></Relationships>
</file>

<file path=customXml/_rels/item1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4.xml"/></Relationships>
</file>

<file path=customXml/_rels/item1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5.xml"/></Relationships>
</file>

<file path=customXml/_rels/item1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6.xml"/></Relationships>
</file>

<file path=customXml/_rels/item1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7.xml"/></Relationships>
</file>

<file path=customXml/_rels/item1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8.xml"/></Relationships>
</file>

<file path=customXml/_rels/item1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9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0.xml"/></Relationships>
</file>

<file path=customXml/_rels/item1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1.xml"/></Relationships>
</file>

<file path=customXml/_rels/item1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2.xml"/></Relationships>
</file>

<file path=customXml/_rels/item1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3.xml"/></Relationships>
</file>

<file path=customXml/_rels/item1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4.xml"/></Relationships>
</file>

<file path=customXml/_rels/item1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5.xml"/></Relationships>
</file>

<file path=customXml/_rels/item1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6.xml"/></Relationships>
</file>

<file path=customXml/_rels/item1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7.xml"/></Relationships>
</file>

<file path=customXml/_rels/item1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8.xml"/></Relationships>
</file>

<file path=customXml/_rels/item1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9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0.xml"/></Relationships>
</file>

<file path=customXml/_rels/item1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1.xml"/></Relationships>
</file>

<file path=customXml/_rels/item1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2.xml"/></Relationships>
</file>

<file path=customXml/_rels/item1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3.xml"/></Relationships>
</file>

<file path=customXml/_rels/item1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4.xml"/></Relationships>
</file>

<file path=customXml/_rels/item1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5.xml"/></Relationships>
</file>

<file path=customXml/_rels/item1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6.xml"/></Relationships>
</file>

<file path=customXml/_rels/item1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7.xml"/></Relationships>
</file>

<file path=customXml/_rels/item1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8.xml"/></Relationships>
</file>

<file path=customXml/_rels/item1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9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0.xml"/></Relationships>
</file>

<file path=customXml/_rels/item1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1.xml"/></Relationships>
</file>

<file path=customXml/_rels/item1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2.xml"/></Relationships>
</file>

<file path=customXml/_rels/item1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3.xml"/></Relationships>
</file>

<file path=customXml/_rels/item1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4.xml"/></Relationships>
</file>

<file path=customXml/_rels/item1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5.xml"/></Relationships>
</file>

<file path=customXml/_rels/item1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6.xml"/></Relationships>
</file>

<file path=customXml/_rels/item1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7.xml"/></Relationships>
</file>

<file path=customXml/_rels/item1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8.xml"/></Relationships>
</file>

<file path=customXml/_rels/item1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9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0.xml"/></Relationships>
</file>

<file path=customXml/_rels/item1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1.xml"/></Relationships>
</file>

<file path=customXml/_rels/item1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2.xml"/></Relationships>
</file>

<file path=customXml/_rels/item1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3.xml"/></Relationships>
</file>

<file path=customXml/_rels/item1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4.xml"/></Relationships>
</file>

<file path=customXml/_rels/item1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5.xml"/></Relationships>
</file>

<file path=customXml/_rels/item1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6.xml"/></Relationships>
</file>

<file path=customXml/_rels/item1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7.xml"/></Relationships>
</file>

<file path=customXml/_rels/item1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8.xml"/></Relationships>
</file>

<file path=customXml/_rels/item1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9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0.xml"/></Relationships>
</file>

<file path=customXml/_rels/item1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1.xml"/></Relationships>
</file>

<file path=customXml/_rels/item1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2.xml"/></Relationships>
</file>

<file path=customXml/_rels/item1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3.xml"/></Relationships>
</file>

<file path=customXml/_rels/item1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4.xml"/></Relationships>
</file>

<file path=customXml/_rels/item1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5.xml"/></Relationships>
</file>

<file path=customXml/_rels/item1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6.xml"/></Relationships>
</file>

<file path=customXml/_rels/item1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7.xml"/></Relationships>
</file>

<file path=customXml/_rels/item1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8.xml"/></Relationships>
</file>

<file path=customXml/_rels/item1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9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0.xml"/></Relationships>
</file>

<file path=customXml/_rels/item1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1.xml"/></Relationships>
</file>

<file path=customXml/_rels/item1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2.xml"/></Relationships>
</file>

<file path=customXml/_rels/item1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3.xml"/></Relationships>
</file>

<file path=customXml/_rels/item1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4.xml"/></Relationships>
</file>

<file path=customXml/_rels/item1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5.xml"/></Relationships>
</file>

<file path=customXml/_rels/item1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6.xml"/></Relationships>
</file>

<file path=customXml/_rels/item1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7.xml"/></Relationships>
</file>

<file path=customXml/_rels/item1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8.xml"/></Relationships>
</file>

<file path=customXml/_rels/item1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9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1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0.xml"/></Relationships>
</file>

<file path=customXml/_rels/item1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1.xml"/></Relationships>
</file>

<file path=customXml/_rels/item1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2.xml"/></Relationships>
</file>

<file path=customXml/_rels/item1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3.xml"/></Relationships>
</file>

<file path=customXml/_rels/item1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4.xml"/></Relationships>
</file>

<file path=customXml/_rels/item1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5.xml"/></Relationships>
</file>

<file path=customXml/_rels/item1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6.xml"/></Relationships>
</file>

<file path=customXml/_rels/item1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7.xml"/></Relationships>
</file>

<file path=customXml/_rels/item1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8.xml"/></Relationships>
</file>

<file path=customXml/_rels/item1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0.xml"/></Relationships>
</file>

<file path=customXml/_rels/item2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1.xml"/></Relationships>
</file>

<file path=customXml/_rels/item2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2.xml"/></Relationships>
</file>

<file path=customXml/_rels/item2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3.xml"/></Relationships>
</file>

<file path=customXml/_rels/item2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4.xml"/></Relationships>
</file>

<file path=customXml/_rels/item2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5.xml"/></Relationships>
</file>

<file path=customXml/_rels/item2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6.xml"/></Relationships>
</file>

<file path=customXml/_rels/item2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7.xml"/></Relationships>
</file>

<file path=customXml/_rels/item2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8.xml"/></Relationships>
</file>

<file path=customXml/_rels/item2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9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0.xml"/></Relationships>
</file>

<file path=customXml/_rels/item2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1.xml"/></Relationships>
</file>

<file path=customXml/_rels/item2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2.xml"/></Relationships>
</file>

<file path=customXml/_rels/item2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3.xml"/></Relationships>
</file>

<file path=customXml/_rels/item2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4.xml"/></Relationships>
</file>

<file path=customXml/_rels/item2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5.xml"/></Relationships>
</file>

<file path=customXml/_rels/item2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6.xml"/></Relationships>
</file>

<file path=customXml/_rels/item2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7.xml"/></Relationships>
</file>

<file path=customXml/_rels/item2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8.xml"/></Relationships>
</file>

<file path=customXml/_rels/item2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9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0.xml"/></Relationships>
</file>

<file path=customXml/_rels/item2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1.xml"/></Relationships>
</file>

<file path=customXml/_rels/item2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2.xml"/></Relationships>
</file>

<file path=customXml/_rels/item2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3.xml"/></Relationships>
</file>

<file path=customXml/_rels/item2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4.xml"/></Relationships>
</file>

<file path=customXml/_rels/item2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5.xml"/></Relationships>
</file>

<file path=customXml/_rels/item2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6.xml"/></Relationships>
</file>

<file path=customXml/_rels/item2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7.xml"/></Relationships>
</file>

<file path=customXml/_rels/item2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8.xml"/></Relationships>
</file>

<file path=customXml/_rels/item2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9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0.xml"/></Relationships>
</file>

<file path=customXml/_rels/item2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1.xml"/></Relationships>
</file>

<file path=customXml/_rels/item2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2.xml"/></Relationships>
</file>

<file path=customXml/_rels/item2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3.xml"/></Relationships>
</file>

<file path=customXml/_rels/item2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4.xml"/></Relationships>
</file>

<file path=customXml/_rels/item2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5.xml"/></Relationships>
</file>

<file path=customXml/_rels/item2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6.xml"/></Relationships>
</file>

<file path=customXml/_rels/item2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7.xml"/></Relationships>
</file>

<file path=customXml/_rels/item2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8.xml"/></Relationships>
</file>

<file path=customXml/_rels/item2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9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0.xml"/></Relationships>
</file>

<file path=customXml/_rels/item2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1.xml"/></Relationships>
</file>

<file path=customXml/_rels/item2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2.xml"/></Relationships>
</file>

<file path=customXml/_rels/item2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3.xml"/></Relationships>
</file>

<file path=customXml/_rels/item2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4.xml"/></Relationships>
</file>

<file path=customXml/_rels/item2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5.xml"/></Relationships>
</file>

<file path=customXml/_rels/item2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6.xml"/></Relationships>
</file>

<file path=customXml/_rels/item2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7.xml"/></Relationships>
</file>

<file path=customXml/_rels/item2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8.xml"/></Relationships>
</file>

<file path=customXml/_rels/item2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9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0.xml"/></Relationships>
</file>

<file path=customXml/_rels/item2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1.xml"/></Relationships>
</file>

<file path=customXml/_rels/item2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2.xml"/></Relationships>
</file>

<file path=customXml/_rels/item2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3.xml"/></Relationships>
</file>

<file path=customXml/_rels/item2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4.xml"/></Relationships>
</file>

<file path=customXml/_rels/item2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5.xml"/></Relationships>
</file>

<file path=customXml/_rels/item2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6.xml"/></Relationships>
</file>

<file path=customXml/_rels/item2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7.xml"/></Relationships>
</file>

<file path=customXml/_rels/item2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8.xml"/></Relationships>
</file>

<file path=customXml/_rels/item2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9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0.xml"/></Relationships>
</file>

<file path=customXml/_rels/item2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1.xml"/></Relationships>
</file>

<file path=customXml/_rels/item2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2.xml"/></Relationships>
</file>

<file path=customXml/_rels/item2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3.xml"/></Relationships>
</file>

<file path=customXml/_rels/item2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4.xml"/></Relationships>
</file>

<file path=customXml/_rels/item2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5.xml"/></Relationships>
</file>

<file path=customXml/_rels/item2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6.xml"/></Relationships>
</file>

<file path=customXml/_rels/item2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7.xml"/></Relationships>
</file>

<file path=customXml/_rels/item2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8.xml"/></Relationships>
</file>

<file path=customXml/_rels/item2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9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0.xml"/></Relationships>
</file>

<file path=customXml/_rels/item2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1.xml"/></Relationships>
</file>

<file path=customXml/_rels/item2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2.xml"/></Relationships>
</file>

<file path=customXml/_rels/item2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3.xml"/></Relationships>
</file>

<file path=customXml/_rels/item2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4.xml"/></Relationships>
</file>

<file path=customXml/_rels/item2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5.xml"/></Relationships>
</file>

<file path=customXml/_rels/item2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6.xml"/></Relationships>
</file>

<file path=customXml/_rels/item2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7.xml"/></Relationships>
</file>

<file path=customXml/_rels/item2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8.xml"/></Relationships>
</file>

<file path=customXml/_rels/item2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9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0.xml"/></Relationships>
</file>

<file path=customXml/_rels/item2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1.xml"/></Relationships>
</file>

<file path=customXml/_rels/item2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2.xml"/></Relationships>
</file>

<file path=customXml/_rels/item2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3.xml"/></Relationships>
</file>

<file path=customXml/_rels/item2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4.xml"/></Relationships>
</file>

<file path=customXml/_rels/item2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5.xml"/></Relationships>
</file>

<file path=customXml/_rels/item2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6.xml"/></Relationships>
</file>

<file path=customXml/_rels/item2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7.xml"/></Relationships>
</file>

<file path=customXml/_rels/item2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8.xml"/></Relationships>
</file>

<file path=customXml/_rels/item2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9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2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0.xml"/></Relationships>
</file>

<file path=customXml/_rels/item2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1.xml"/></Relationships>
</file>

<file path=customXml/_rels/item2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2.xml"/></Relationships>
</file>

<file path=customXml/_rels/item2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3.xml"/></Relationships>
</file>

<file path=customXml/_rels/item2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4.xml"/></Relationships>
</file>

<file path=customXml/_rels/item2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5.xml"/></Relationships>
</file>

<file path=customXml/_rels/item2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6.xml"/></Relationships>
</file>

<file path=customXml/_rels/item2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7.xml"/></Relationships>
</file>

<file path=customXml/_rels/item2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8.xml"/></Relationships>
</file>

<file path=customXml/_rels/item2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0.xml"/></Relationships>
</file>

<file path=customXml/_rels/item3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1.xml"/></Relationships>
</file>

<file path=customXml/_rels/item3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2.xml"/></Relationships>
</file>

<file path=customXml/_rels/item3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3.xml"/></Relationships>
</file>

<file path=customXml/_rels/item3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4.xml"/></Relationships>
</file>

<file path=customXml/_rels/item3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5.xml"/></Relationships>
</file>

<file path=customXml/_rels/item3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6.xml"/></Relationships>
</file>

<file path=customXml/_rels/item3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7.xml"/></Relationships>
</file>

<file path=customXml/_rels/item3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8.xml"/></Relationships>
</file>

<file path=customXml/_rels/item3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9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0.xml"/></Relationships>
</file>

<file path=customXml/_rels/item3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1.xml"/></Relationships>
</file>

<file path=customXml/_rels/item3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2.xml"/></Relationships>
</file>

<file path=customXml/_rels/item3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3.xml"/></Relationships>
</file>

<file path=customXml/_rels/item3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4.xml"/></Relationships>
</file>

<file path=customXml/_rels/item3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5.xml"/></Relationships>
</file>

<file path=customXml/_rels/item3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6.xml"/></Relationships>
</file>

<file path=customXml/_rels/item3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7.xml"/></Relationships>
</file>

<file path=customXml/_rels/item3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8.xml"/></Relationships>
</file>

<file path=customXml/_rels/item3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9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0.xml"/></Relationships>
</file>

<file path=customXml/_rels/item3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1.xml"/></Relationships>
</file>

<file path=customXml/_rels/item3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2.xml"/></Relationships>
</file>

<file path=customXml/_rels/item3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3.xml"/></Relationships>
</file>

<file path=customXml/_rels/item3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4.xml"/></Relationships>
</file>

<file path=customXml/_rels/item3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5.xml"/></Relationships>
</file>

<file path=customXml/_rels/item3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6.xml"/></Relationships>
</file>

<file path=customXml/_rels/item3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7.xml"/></Relationships>
</file>

<file path=customXml/_rels/item3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8.xml"/></Relationships>
</file>

<file path=customXml/_rels/item3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9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0.xml"/></Relationships>
</file>

<file path=customXml/_rels/item3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1.xml"/></Relationships>
</file>

<file path=customXml/_rels/item3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2.xml"/></Relationships>
</file>

<file path=customXml/_rels/item3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3.xml"/></Relationships>
</file>

<file path=customXml/_rels/item3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4.xml"/></Relationships>
</file>

<file path=customXml/_rels/item3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5.xml"/></Relationships>
</file>

<file path=customXml/_rels/item3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6.xml"/></Relationships>
</file>

<file path=customXml/_rels/item3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7.xml"/></Relationships>
</file>

<file path=customXml/_rels/item3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8.xml"/></Relationships>
</file>

<file path=customXml/_rels/item3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9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0.xml"/></Relationships>
</file>

<file path=customXml/_rels/item3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1.xml"/></Relationships>
</file>

<file path=customXml/_rels/item3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2.xml"/></Relationships>
</file>

<file path=customXml/_rels/item3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3.xml"/></Relationships>
</file>

<file path=customXml/_rels/item3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4.xml"/></Relationships>
</file>

<file path=customXml/_rels/item3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5.xml"/></Relationships>
</file>

<file path=customXml/_rels/item3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6.xml"/></Relationships>
</file>

<file path=customXml/_rels/item3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7.xml"/></Relationships>
</file>

<file path=customXml/_rels/item3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8.xml"/></Relationships>
</file>

<file path=customXml/_rels/item3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9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0.xml"/></Relationships>
</file>

<file path=customXml/_rels/item3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1.xml"/></Relationships>
</file>

<file path=customXml/_rels/item3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2.xml"/></Relationships>
</file>

<file path=customXml/_rels/item3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3.xml"/></Relationships>
</file>

<file path=customXml/_rels/item3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4.xml"/></Relationships>
</file>

<file path=customXml/_rels/item3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5.xml"/></Relationships>
</file>

<file path=customXml/_rels/item3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6.xml"/></Relationships>
</file>

<file path=customXml/_rels/item3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7.xml"/></Relationships>
</file>

<file path=customXml/_rels/item3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8.xml"/></Relationships>
</file>

<file path=customXml/_rels/item3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9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0.xml"/></Relationships>
</file>

<file path=customXml/_rels/item3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1.xml"/></Relationships>
</file>

<file path=customXml/_rels/item3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2.xml"/></Relationships>
</file>

<file path=customXml/_rels/item3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3.xml"/></Relationships>
</file>

<file path=customXml/_rels/item3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4.xml"/></Relationships>
</file>

<file path=customXml/_rels/item3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5.xml"/></Relationships>
</file>

<file path=customXml/_rels/item3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6.xml"/></Relationships>
</file>

<file path=customXml/_rels/item3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7.xml"/></Relationships>
</file>

<file path=customXml/_rels/item3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8.xml"/></Relationships>
</file>

<file path=customXml/_rels/item3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9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0.xml"/></Relationships>
</file>

<file path=customXml/_rels/item3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1.xml"/></Relationships>
</file>

<file path=customXml/_rels/item3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2.xml"/></Relationships>
</file>

<file path=customXml/_rels/item3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3.xml"/></Relationships>
</file>

<file path=customXml/_rels/item3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4.xml"/></Relationships>
</file>

<file path=customXml/_rels/item3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5.xml"/></Relationships>
</file>

<file path=customXml/_rels/item3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6.xml"/></Relationships>
</file>

<file path=customXml/_rels/item3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7.xml"/></Relationships>
</file>

<file path=customXml/_rels/item3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8.xml"/></Relationships>
</file>

<file path=customXml/_rels/item3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9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0.xml"/></Relationships>
</file>

<file path=customXml/_rels/item3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1.xml"/></Relationships>
</file>

<file path=customXml/_rels/item3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2.xml"/></Relationships>
</file>

<file path=customXml/_rels/item3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3.xml"/></Relationships>
</file>

<file path=customXml/_rels/item3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4.xml"/></Relationships>
</file>

<file path=customXml/_rels/item3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5.xml"/></Relationships>
</file>

<file path=customXml/_rels/item3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6.xml"/></Relationships>
</file>

<file path=customXml/_rels/item3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7.xml"/></Relationships>
</file>

<file path=customXml/_rels/item3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8.xml"/></Relationships>
</file>

<file path=customXml/_rels/item3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9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3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0.xml"/></Relationships>
</file>

<file path=customXml/_rels/item3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1.xml"/></Relationships>
</file>

<file path=customXml/_rels/item3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2.xml"/></Relationships>
</file>

<file path=customXml/_rels/item3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3.xml"/></Relationships>
</file>

<file path=customXml/_rels/item3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4.xml"/></Relationships>
</file>

<file path=customXml/_rels/item3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5.xml"/></Relationships>
</file>

<file path=customXml/_rels/item3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6.xml"/></Relationships>
</file>

<file path=customXml/_rels/item3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7.xml"/></Relationships>
</file>

<file path=customXml/_rels/item3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8.xml"/></Relationships>
</file>

<file path=customXml/_rels/item3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0.xml"/></Relationships>
</file>

<file path=customXml/_rels/item4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1.xml"/></Relationships>
</file>

<file path=customXml/_rels/item4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2.xml"/></Relationships>
</file>

<file path=customXml/_rels/item4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3.xml"/></Relationships>
</file>

<file path=customXml/_rels/item4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4.xml"/></Relationships>
</file>

<file path=customXml/_rels/item4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5.xml"/></Relationships>
</file>

<file path=customXml/_rels/item4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6.xml"/></Relationships>
</file>

<file path=customXml/_rels/item4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7.xml"/></Relationships>
</file>

<file path=customXml/_rels/item4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8.xml"/></Relationships>
</file>

<file path=customXml/_rels/item4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9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0.xml"/></Relationships>
</file>

<file path=customXml/_rels/item4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1.xml"/></Relationships>
</file>

<file path=customXml/_rels/item4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2.xml"/></Relationships>
</file>

<file path=customXml/_rels/item4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3.xml"/></Relationships>
</file>

<file path=customXml/_rels/item4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4.xml"/></Relationships>
</file>

<file path=customXml/_rels/item4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5.xml"/></Relationships>
</file>

<file path=customXml/_rels/item4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6.xml"/></Relationships>
</file>

<file path=customXml/_rels/item4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7.xml"/></Relationships>
</file>

<file path=customXml/_rels/item4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8.xml"/></Relationships>
</file>

<file path=customXml/_rels/item4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9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0.xml"/></Relationships>
</file>

<file path=customXml/_rels/item4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1.xml"/></Relationships>
</file>

<file path=customXml/_rels/item4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2.xml"/></Relationships>
</file>

<file path=customXml/_rels/item4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3.xml"/></Relationships>
</file>

<file path=customXml/_rels/item4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4.xml"/></Relationships>
</file>

<file path=customXml/_rels/item4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5.xml"/></Relationships>
</file>

<file path=customXml/_rels/item4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6.xml"/></Relationships>
</file>

<file path=customXml/_rels/item4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7.xml"/></Relationships>
</file>

<file path=customXml/_rels/item4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8.xml"/></Relationships>
</file>

<file path=customXml/_rels/item4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9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0.xml"/></Relationships>
</file>

<file path=customXml/_rels/item4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1.xml"/></Relationships>
</file>

<file path=customXml/_rels/item4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2.xml"/></Relationships>
</file>

<file path=customXml/_rels/item4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3.xml"/></Relationships>
</file>

<file path=customXml/_rels/item4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4.xml"/></Relationships>
</file>

<file path=customXml/_rels/item4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5.xml"/></Relationships>
</file>

<file path=customXml/_rels/item4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6.xml"/></Relationships>
</file>

<file path=customXml/_rels/item4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7.xml"/></Relationships>
</file>

<file path=customXml/_rels/item4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8.xml"/></Relationships>
</file>

<file path=customXml/_rels/item4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9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0.xml"/></Relationships>
</file>

<file path=customXml/_rels/item4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1.xml"/></Relationships>
</file>

<file path=customXml/_rels/item4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2.xml"/></Relationships>
</file>

<file path=customXml/_rels/item4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3.xml"/></Relationships>
</file>

<file path=customXml/_rels/item4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4.xml"/></Relationships>
</file>

<file path=customXml/_rels/item4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5.xml"/></Relationships>
</file>

<file path=customXml/_rels/item4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6.xml"/></Relationships>
</file>

<file path=customXml/_rels/item4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7.xml"/></Relationships>
</file>

<file path=customXml/_rels/item4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8.xml"/></Relationships>
</file>

<file path=customXml/_rels/item4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9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0.xml"/></Relationships>
</file>

<file path=customXml/_rels/item4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1.xml"/></Relationships>
</file>

<file path=customXml/_rels/item4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2.xml"/></Relationships>
</file>

<file path=customXml/_rels/item4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3.xml"/></Relationships>
</file>

<file path=customXml/_rels/item4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4.xml"/></Relationships>
</file>

<file path=customXml/_rels/item4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5.xml"/></Relationships>
</file>

<file path=customXml/_rels/item4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6.xml"/></Relationships>
</file>

<file path=customXml/_rels/item4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7.xml"/></Relationships>
</file>

<file path=customXml/_rels/item4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8.xml"/></Relationships>
</file>

<file path=customXml/_rels/item4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9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0.xml"/></Relationships>
</file>

<file path=customXml/_rels/item4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1.xml"/></Relationships>
</file>

<file path=customXml/_rels/item4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2.xml"/></Relationships>
</file>

<file path=customXml/_rels/item4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3.xml"/></Relationships>
</file>

<file path=customXml/_rels/item4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4.xml"/></Relationships>
</file>

<file path=customXml/_rels/item4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5.xml"/></Relationships>
</file>

<file path=customXml/_rels/item4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6.xml"/></Relationships>
</file>

<file path=customXml/_rels/item4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7.xml"/></Relationships>
</file>

<file path=customXml/_rels/item4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8.xml"/></Relationships>
</file>

<file path=customXml/_rels/item4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9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0.xml"/></Relationships>
</file>

<file path=customXml/_rels/item4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1.xml"/></Relationships>
</file>

<file path=customXml/_rels/item4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2.xml"/></Relationships>
</file>

<file path=customXml/_rels/item4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3.xml"/></Relationships>
</file>

<file path=customXml/_rels/item4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4.xml"/></Relationships>
</file>

<file path=customXml/_rels/item4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5.xml"/></Relationships>
</file>

<file path=customXml/_rels/item4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6.xml"/></Relationships>
</file>

<file path=customXml/_rels/item4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7.xml"/></Relationships>
</file>

<file path=customXml/_rels/item4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8.xml"/></Relationships>
</file>

<file path=customXml/_rels/item4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9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0.xml"/></Relationships>
</file>

<file path=customXml/_rels/item4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1.xml"/></Relationships>
</file>

<file path=customXml/_rels/item4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2.xml"/></Relationships>
</file>

<file path=customXml/_rels/item4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3.xml"/></Relationships>
</file>

<file path=customXml/_rels/item4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4.xml"/></Relationships>
</file>

<file path=customXml/_rels/item4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5.xml"/></Relationships>
</file>

<file path=customXml/_rels/item4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6.xml"/></Relationships>
</file>

<file path=customXml/_rels/item4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7.xml"/></Relationships>
</file>

<file path=customXml/_rels/item4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8.xml"/></Relationships>
</file>

<file path=customXml/_rels/item4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9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4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0.xml"/></Relationships>
</file>

<file path=customXml/_rels/item4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1.xml"/></Relationships>
</file>

<file path=customXml/_rels/item4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2.xml"/></Relationships>
</file>

<file path=customXml/_rels/item4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3.xml"/></Relationships>
</file>

<file path=customXml/_rels/item4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4.xml"/></Relationships>
</file>

<file path=customXml/_rels/item4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5.xml"/></Relationships>
</file>

<file path=customXml/_rels/item4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6.xml"/></Relationships>
</file>

<file path=customXml/_rels/item4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7.xml"/></Relationships>
</file>

<file path=customXml/_rels/item4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8.xml"/></Relationships>
</file>

<file path=customXml/_rels/item4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0.xml"/></Relationships>
</file>

<file path=customXml/_rels/item5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1.xml"/></Relationships>
</file>

<file path=customXml/_rels/item5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2.xml"/></Relationships>
</file>

<file path=customXml/_rels/item5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3.xml"/></Relationships>
</file>

<file path=customXml/_rels/item5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4.xml"/></Relationships>
</file>

<file path=customXml/_rels/item5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5.xml"/></Relationships>
</file>

<file path=customXml/_rels/item5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6.xml"/></Relationships>
</file>

<file path=customXml/_rels/item5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7.xml"/></Relationships>
</file>

<file path=customXml/_rels/item5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8.xml"/></Relationships>
</file>

<file path=customXml/_rels/item5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9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0.xml"/></Relationships>
</file>

<file path=customXml/_rels/item5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1.xml"/></Relationships>
</file>

<file path=customXml/_rels/item5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2.xml"/></Relationships>
</file>

<file path=customXml/_rels/item5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3.xml"/></Relationships>
</file>

<file path=customXml/_rels/item5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4.xml"/></Relationships>
</file>

<file path=customXml/_rels/item5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5.xml"/></Relationships>
</file>

<file path=customXml/_rels/item5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6.xml"/></Relationships>
</file>

<file path=customXml/_rels/item5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7.xml"/></Relationships>
</file>

<file path=customXml/_rels/item5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8.xml"/></Relationships>
</file>

<file path=customXml/_rels/item5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9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0.xml"/></Relationships>
</file>

<file path=customXml/_rels/item5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1.xml"/></Relationships>
</file>

<file path=customXml/_rels/item5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2.xml"/></Relationships>
</file>

<file path=customXml/_rels/item5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3.xml"/></Relationships>
</file>

<file path=customXml/_rels/item5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4.xml"/></Relationships>
</file>

<file path=customXml/_rels/item5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5.xml"/></Relationships>
</file>

<file path=customXml/_rels/item5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6.xml"/></Relationships>
</file>

<file path=customXml/_rels/item5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7.xml"/></Relationships>
</file>

<file path=customXml/_rels/item5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8.xml"/></Relationships>
</file>

<file path=customXml/_rels/item5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9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0.xml"/></Relationships>
</file>

<file path=customXml/_rels/item5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1.xml"/></Relationships>
</file>

<file path=customXml/_rels/item5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2.xml"/></Relationships>
</file>

<file path=customXml/_rels/item5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3.xml"/></Relationships>
</file>

<file path=customXml/_rels/item5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4.xml"/></Relationships>
</file>

<file path=customXml/_rels/item5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5.xml"/></Relationships>
</file>

<file path=customXml/_rels/item5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6.xml"/></Relationships>
</file>

<file path=customXml/_rels/item5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7.xml"/></Relationships>
</file>

<file path=customXml/_rels/item5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8.xml"/></Relationships>
</file>

<file path=customXml/_rels/item5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9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0.xml"/></Relationships>
</file>

<file path=customXml/_rels/item5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1.xml"/></Relationships>
</file>

<file path=customXml/_rels/item5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2.xml"/></Relationships>
</file>

<file path=customXml/_rels/item5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3.xml"/></Relationships>
</file>

<file path=customXml/_rels/item5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4.xml"/></Relationships>
</file>

<file path=customXml/_rels/item5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5.xml"/></Relationships>
</file>

<file path=customXml/_rels/item5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6.xml"/></Relationships>
</file>

<file path=customXml/_rels/item5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7.xml"/></Relationships>
</file>

<file path=customXml/_rels/item5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8.xml"/></Relationships>
</file>

<file path=customXml/_rels/item5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9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0.xml"/></Relationships>
</file>

<file path=customXml/_rels/item5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1.xml"/></Relationships>
</file>

<file path=customXml/_rels/item5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2.xml"/></Relationships>
</file>

<file path=customXml/_rels/item5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3.xml"/></Relationships>
</file>

<file path=customXml/_rels/item5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4.xml"/></Relationships>
</file>

<file path=customXml/_rels/item5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5.xml"/></Relationships>
</file>

<file path=customXml/_rels/item5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6.xml"/></Relationships>
</file>

<file path=customXml/_rels/item5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7.xml"/></Relationships>
</file>

<file path=customXml/_rels/item5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8.xml"/></Relationships>
</file>

<file path=customXml/_rels/item5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9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0.xml"/></Relationships>
</file>

<file path=customXml/_rels/item5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1.xml"/></Relationships>
</file>

<file path=customXml/_rels/item5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2.xml"/></Relationships>
</file>

<file path=customXml/_rels/item5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3.xml"/></Relationships>
</file>

<file path=customXml/_rels/item5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4.xml"/></Relationships>
</file>

<file path=customXml/_rels/item5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5.xml"/></Relationships>
</file>

<file path=customXml/_rels/item5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6.xml"/></Relationships>
</file>

<file path=customXml/_rels/item5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7.xml"/></Relationships>
</file>

<file path=customXml/_rels/item5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8.xml"/></Relationships>
</file>

<file path=customXml/_rels/item5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9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0.xml"/></Relationships>
</file>

<file path=customXml/_rels/item5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1.xml"/></Relationships>
</file>

<file path=customXml/_rels/item5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2.xml"/></Relationships>
</file>

<file path=customXml/_rels/item5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3.xml"/></Relationships>
</file>

<file path=customXml/_rels/item5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4.xml"/></Relationships>
</file>

<file path=customXml/_rels/item5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5.xml"/></Relationships>
</file>

<file path=customXml/_rels/item5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6.xml"/></Relationships>
</file>

<file path=customXml/_rels/item5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7.xml"/></Relationships>
</file>

<file path=customXml/_rels/item5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8.xml"/></Relationships>
</file>

<file path=customXml/_rels/item5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9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0.xml"/></Relationships>
</file>

<file path=customXml/_rels/item5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1.xml"/></Relationships>
</file>

<file path=customXml/_rels/item5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2.xml"/></Relationships>
</file>

<file path=customXml/_rels/item5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3.xml"/></Relationships>
</file>

<file path=customXml/_rels/item5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4.xml"/></Relationships>
</file>

<file path=customXml/_rels/item5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5.xml"/></Relationships>
</file>

<file path=customXml/_rels/item5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6.xml"/></Relationships>
</file>

<file path=customXml/_rels/item5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7.xml"/></Relationships>
</file>

<file path=customXml/_rels/item5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8.xml"/></Relationships>
</file>

<file path=customXml/_rels/item5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9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5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0.xml"/></Relationships>
</file>

<file path=customXml/_rels/item5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1.xml"/></Relationships>
</file>

<file path=customXml/_rels/item5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2.xml"/></Relationships>
</file>

<file path=customXml/_rels/item5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3.xml"/></Relationships>
</file>

<file path=customXml/_rels/item5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4.xml"/></Relationships>
</file>

<file path=customXml/_rels/item5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5.xml"/></Relationships>
</file>

<file path=customXml/_rels/item5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6.xml"/></Relationships>
</file>

<file path=customXml/_rels/item5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7.xml"/></Relationships>
</file>

<file path=customXml/_rels/item5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8.xml"/></Relationships>
</file>

<file path=customXml/_rels/item5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0.xml"/></Relationships>
</file>

<file path=customXml/_rels/item6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1.xml"/></Relationships>
</file>

<file path=customXml/_rels/item6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2.xml"/></Relationships>
</file>

<file path=customXml/_rels/item6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3.xml"/></Relationships>
</file>

<file path=customXml/_rels/item6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4.xml"/></Relationships>
</file>

<file path=customXml/_rels/item6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5.xml"/></Relationships>
</file>

<file path=customXml/_rels/item6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6.xml"/></Relationships>
</file>

<file path=customXml/_rels/item6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7.xml"/></Relationships>
</file>

<file path=customXml/_rels/item6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8.xml"/></Relationships>
</file>

<file path=customXml/_rels/item6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9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0.xml"/></Relationships>
</file>

<file path=customXml/_rels/item6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1.xml"/></Relationships>
</file>

<file path=customXml/_rels/item6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2.xml"/></Relationships>
</file>

<file path=customXml/_rels/item6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3.xml"/></Relationships>
</file>

<file path=customXml/_rels/item6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4.xml"/></Relationships>
</file>

<file path=customXml/_rels/item6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5.xml"/></Relationships>
</file>

<file path=customXml/_rels/item6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6.xml"/></Relationships>
</file>

<file path=customXml/_rels/item6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7.xml"/></Relationships>
</file>

<file path=customXml/_rels/item6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8.xml"/></Relationships>
</file>

<file path=customXml/_rels/item6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9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0.xml"/></Relationships>
</file>

<file path=customXml/_rels/item6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1.xml"/></Relationships>
</file>

<file path=customXml/_rels/item6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2.xml"/></Relationships>
</file>

<file path=customXml/_rels/item6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3.xml"/></Relationships>
</file>

<file path=customXml/_rels/item6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4.xml"/></Relationships>
</file>

<file path=customXml/_rels/item6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5.xml"/></Relationships>
</file>

<file path=customXml/_rels/item6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6.xml"/></Relationships>
</file>

<file path=customXml/_rels/item6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7.xml"/></Relationships>
</file>

<file path=customXml/_rels/item6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8.xml"/></Relationships>
</file>

<file path=customXml/_rels/item6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9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0.xml"/></Relationships>
</file>

<file path=customXml/_rels/item6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1.xml"/></Relationships>
</file>

<file path=customXml/_rels/item6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2.xml"/></Relationships>
</file>

<file path=customXml/_rels/item6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3.xml"/></Relationships>
</file>

<file path=customXml/_rels/item6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4.xml"/></Relationships>
</file>

<file path=customXml/_rels/item6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5.xml"/></Relationships>
</file>

<file path=customXml/_rels/item6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6.xml"/></Relationships>
</file>

<file path=customXml/_rels/item6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7.xml"/></Relationships>
</file>

<file path=customXml/_rels/item6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8.xml"/></Relationships>
</file>

<file path=customXml/_rels/item6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9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0.xml"/></Relationships>
</file>

<file path=customXml/_rels/item6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1.xml"/></Relationships>
</file>

<file path=customXml/_rels/item6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2.xml"/></Relationships>
</file>

<file path=customXml/_rels/item6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3.xml"/></Relationships>
</file>

<file path=customXml/_rels/item6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4.xml"/></Relationships>
</file>

<file path=customXml/_rels/item6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5.xml"/></Relationships>
</file>

<file path=customXml/_rels/item6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6.xml"/></Relationships>
</file>

<file path=customXml/_rels/item6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7.xml"/></Relationships>
</file>

<file path=customXml/_rels/item6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8.xml"/></Relationships>
</file>

<file path=customXml/_rels/item6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9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0.xml"/></Relationships>
</file>

<file path=customXml/_rels/item6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1.xml"/></Relationships>
</file>

<file path=customXml/_rels/item6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2.xml"/></Relationships>
</file>

<file path=customXml/_rels/item6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3.xml"/></Relationships>
</file>

<file path=customXml/_rels/item6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4.xml"/></Relationships>
</file>

<file path=customXml/_rels/item6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5.xml"/></Relationships>
</file>

<file path=customXml/_rels/item6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6.xml"/></Relationships>
</file>

<file path=customXml/_rels/item6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7.xml"/></Relationships>
</file>

<file path=customXml/_rels/item6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8.xml"/></Relationships>
</file>

<file path=customXml/_rels/item6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9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0.xml"/></Relationships>
</file>

<file path=customXml/_rels/item6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1.xml"/></Relationships>
</file>

<file path=customXml/_rels/item6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2.xml"/></Relationships>
</file>

<file path=customXml/_rels/item6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3.xml"/></Relationships>
</file>

<file path=customXml/_rels/item6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4.xml"/></Relationships>
</file>

<file path=customXml/_rels/item6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5.xml"/></Relationships>
</file>

<file path=customXml/_rels/item6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6.xml"/></Relationships>
</file>

<file path=customXml/_rels/item6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7.xml"/></Relationships>
</file>

<file path=customXml/_rels/item6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8.xml"/></Relationships>
</file>

<file path=customXml/_rels/item6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9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0.xml"/></Relationships>
</file>

<file path=customXml/_rels/item6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1.xml"/></Relationships>
</file>

<file path=customXml/_rels/item6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2.xml"/></Relationships>
</file>

<file path=customXml/_rels/item6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3.xml"/></Relationships>
</file>

<file path=customXml/_rels/item6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4.xml"/></Relationships>
</file>

<file path=customXml/_rels/item6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5.xml"/></Relationships>
</file>

<file path=customXml/_rels/item6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6.xml"/></Relationships>
</file>

<file path=customXml/_rels/item6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7.xml"/></Relationships>
</file>

<file path=customXml/_rels/item6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8.xml"/></Relationships>
</file>

<file path=customXml/_rels/item6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9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0.xml"/></Relationships>
</file>

<file path=customXml/_rels/item6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1.xml"/></Relationships>
</file>

<file path=customXml/_rels/item6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2.xml"/></Relationships>
</file>

<file path=customXml/_rels/item6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3.xml"/></Relationships>
</file>

<file path=customXml/_rels/item6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4.xml"/></Relationships>
</file>

<file path=customXml/_rels/item6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5.xml"/></Relationships>
</file>

<file path=customXml/_rels/item6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6.xml"/></Relationships>
</file>

<file path=customXml/_rels/item6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7.xml"/></Relationships>
</file>

<file path=customXml/_rels/item6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8.xml"/></Relationships>
</file>

<file path=customXml/_rels/item6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9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6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0.xml"/></Relationships>
</file>

<file path=customXml/_rels/item6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1.xml"/></Relationships>
</file>

<file path=customXml/_rels/item6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2.xml"/></Relationships>
</file>

<file path=customXml/_rels/item6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3.xml"/></Relationships>
</file>

<file path=customXml/_rels/item6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4.xml"/></Relationships>
</file>

<file path=customXml/_rels/item6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5.xml"/></Relationships>
</file>

<file path=customXml/_rels/item6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6.xml"/></Relationships>
</file>

<file path=customXml/_rels/item6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7.xml"/></Relationships>
</file>

<file path=customXml/_rels/item6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8.xml"/></Relationships>
</file>

<file path=customXml/_rels/item6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0.xml"/></Relationships>
</file>

<file path=customXml/_rels/item7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1.xml"/></Relationships>
</file>

<file path=customXml/_rels/item7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2.xml"/></Relationships>
</file>

<file path=customXml/_rels/item7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3.xml"/></Relationships>
</file>

<file path=customXml/_rels/item7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4.xml"/></Relationships>
</file>

<file path=customXml/_rels/item7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5.xml"/></Relationships>
</file>

<file path=customXml/_rels/item7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6.xml"/></Relationships>
</file>

<file path=customXml/_rels/item7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7.xml"/></Relationships>
</file>

<file path=customXml/_rels/item7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8.xml"/></Relationships>
</file>

<file path=customXml/_rels/item7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9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0.xml"/></Relationships>
</file>

<file path=customXml/_rels/item7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1.xml"/></Relationships>
</file>

<file path=customXml/_rels/item7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2.xml"/></Relationships>
</file>

<file path=customXml/_rels/item7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3.xml"/></Relationships>
</file>

<file path=customXml/_rels/item7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4.xml"/></Relationships>
</file>

<file path=customXml/_rels/item7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5.xml"/></Relationships>
</file>

<file path=customXml/_rels/item7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6.xml"/></Relationships>
</file>

<file path=customXml/_rels/item7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7.xml"/></Relationships>
</file>

<file path=customXml/_rels/item7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8.xml"/></Relationships>
</file>

<file path=customXml/_rels/item7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9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0.xml"/></Relationships>
</file>

<file path=customXml/_rels/item7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1.xml"/></Relationships>
</file>

<file path=customXml/_rels/item7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2.xml"/></Relationships>
</file>

<file path=customXml/_rels/item7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3.xml"/></Relationships>
</file>

<file path=customXml/_rels/item7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4.xml"/></Relationships>
</file>

<file path=customXml/_rels/item7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5.xml"/></Relationships>
</file>

<file path=customXml/_rels/item7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6.xml"/></Relationships>
</file>

<file path=customXml/_rels/item7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7.xml"/></Relationships>
</file>

<file path=customXml/_rels/item7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8.xml"/></Relationships>
</file>

<file path=customXml/_rels/item7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9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0.xml"/></Relationships>
</file>

<file path=customXml/_rels/item7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1.xml"/></Relationships>
</file>

<file path=customXml/_rels/item7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2.xml"/></Relationships>
</file>

<file path=customXml/_rels/item7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3.xml"/></Relationships>
</file>

<file path=customXml/_rels/item7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4.xml"/></Relationships>
</file>

<file path=customXml/_rels/item7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5.xml"/></Relationships>
</file>

<file path=customXml/_rels/item7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6.xml"/></Relationships>
</file>

<file path=customXml/_rels/item7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7.xml"/></Relationships>
</file>

<file path=customXml/_rels/item7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8.xml"/></Relationships>
</file>

<file path=customXml/_rels/item7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9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0.xml"/></Relationships>
</file>

<file path=customXml/_rels/item7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1.xml"/></Relationships>
</file>

<file path=customXml/_rels/item7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2.xml"/></Relationships>
</file>

<file path=customXml/_rels/item7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3.xml"/></Relationships>
</file>

<file path=customXml/_rels/item7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4.xml"/></Relationships>
</file>

<file path=customXml/_rels/item7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5.xml"/></Relationships>
</file>

<file path=customXml/_rels/item7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6.xml"/></Relationships>
</file>

<file path=customXml/_rels/item7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7.xml"/></Relationships>
</file>

<file path=customXml/_rels/item7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8.xml"/></Relationships>
</file>

<file path=customXml/_rels/item7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9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0.xml"/></Relationships>
</file>

<file path=customXml/_rels/item7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1.xml"/></Relationships>
</file>

<file path=customXml/_rels/item7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2.xml"/></Relationships>
</file>

<file path=customXml/_rels/item7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3.xml"/></Relationships>
</file>

<file path=customXml/_rels/item7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4.xml"/></Relationships>
</file>

<file path=customXml/_rels/item7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5.xml"/></Relationships>
</file>

<file path=customXml/_rels/item7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6.xml"/></Relationships>
</file>

<file path=customXml/_rels/item7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7.xml"/></Relationships>
</file>

<file path=customXml/_rels/item7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8.xml"/></Relationships>
</file>

<file path=customXml/_rels/item7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9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0.xml"/></Relationships>
</file>

<file path=customXml/_rels/item7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1.xml"/></Relationships>
</file>

<file path=customXml/_rels/item7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2.xml"/></Relationships>
</file>

<file path=customXml/_rels/item7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3.xml"/></Relationships>
</file>

<file path=customXml/_rels/item7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4.xml"/></Relationships>
</file>

<file path=customXml/_rels/item7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5.xml"/></Relationships>
</file>

<file path=customXml/_rels/item7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6.xml"/></Relationships>
</file>

<file path=customXml/_rels/item7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7.xml"/></Relationships>
</file>

<file path=customXml/_rels/item7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8.xml"/></Relationships>
</file>

<file path=customXml/_rels/item7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9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0.xml"/></Relationships>
</file>

<file path=customXml/_rels/item7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1.xml"/></Relationships>
</file>

<file path=customXml/_rels/item7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2.xml"/></Relationships>
</file>

<file path=customXml/_rels/item7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3.xml"/></Relationships>
</file>

<file path=customXml/_rels/item7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4.xml"/></Relationships>
</file>

<file path=customXml/_rels/item7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5.xml"/></Relationships>
</file>

<file path=customXml/_rels/item7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6.xml"/></Relationships>
</file>

<file path=customXml/_rels/item7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7.xml"/></Relationships>
</file>

<file path=customXml/_rels/item7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8.xml"/></Relationships>
</file>

<file path=customXml/_rels/item7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9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0.xml"/></Relationships>
</file>

<file path=customXml/_rels/item7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1.xml"/></Relationships>
</file>

<file path=customXml/_rels/item7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2.xml"/></Relationships>
</file>

<file path=customXml/_rels/item7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3.xml"/></Relationships>
</file>

<file path=customXml/_rels/item7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4.xml"/></Relationships>
</file>

<file path=customXml/_rels/item7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5.xml"/></Relationships>
</file>

<file path=customXml/_rels/item7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6.xml"/></Relationships>
</file>

<file path=customXml/_rels/item7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7.xml"/></Relationships>
</file>

<file path=customXml/_rels/item7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8.xml"/></Relationships>
</file>

<file path=customXml/_rels/item7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9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7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0.xml"/></Relationships>
</file>

<file path=customXml/_rels/item7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1.xml"/></Relationships>
</file>

<file path=customXml/_rels/item7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2.xml"/></Relationships>
</file>

<file path=customXml/_rels/item7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3.xml"/></Relationships>
</file>

<file path=customXml/_rels/item7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4.xml"/></Relationships>
</file>

<file path=customXml/_rels/item7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5.xml"/></Relationships>
</file>

<file path=customXml/_rels/item7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6.xml"/></Relationships>
</file>

<file path=customXml/_rels/item7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7.xml"/></Relationships>
</file>

<file path=customXml/_rels/item7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8.xml"/></Relationships>
</file>

<file path=customXml/_rels/item7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0.xml"/></Relationships>
</file>

<file path=customXml/_rels/item8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1.xml"/></Relationships>
</file>

<file path=customXml/_rels/item8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2.xml"/></Relationships>
</file>

<file path=customXml/_rels/item8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3.xml"/></Relationships>
</file>

<file path=customXml/_rels/item8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4.xml"/></Relationships>
</file>

<file path=customXml/_rels/item8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5.xml"/></Relationships>
</file>

<file path=customXml/_rels/item8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6.xml"/></Relationships>
</file>

<file path=customXml/_rels/item8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7.xml"/></Relationships>
</file>

<file path=customXml/_rels/item8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8.xml"/></Relationships>
</file>

<file path=customXml/_rels/item8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9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0.xml"/></Relationships>
</file>

<file path=customXml/_rels/item8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1.xml"/></Relationships>
</file>

<file path=customXml/_rels/item8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2.xml"/></Relationships>
</file>

<file path=customXml/_rels/item8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3.xml"/></Relationships>
</file>

<file path=customXml/_rels/item8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4.xml"/></Relationships>
</file>

<file path=customXml/_rels/item8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5.xml"/></Relationships>
</file>

<file path=customXml/_rels/item8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6.xml"/></Relationships>
</file>

<file path=customXml/_rels/item8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7.xml"/></Relationships>
</file>

<file path=customXml/_rels/item8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8.xml"/></Relationships>
</file>

<file path=customXml/_rels/item8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9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0.xml"/></Relationships>
</file>

<file path=customXml/_rels/item8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1.xml"/></Relationships>
</file>

<file path=customXml/_rels/item8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2.xml"/></Relationships>
</file>

<file path=customXml/_rels/item8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3.xml"/></Relationships>
</file>

<file path=customXml/_rels/item8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4.xml"/></Relationships>
</file>

<file path=customXml/_rels/item8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5.xml"/></Relationships>
</file>

<file path=customXml/_rels/item8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6.xml"/></Relationships>
</file>

<file path=customXml/_rels/item8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7.xml"/></Relationships>
</file>

<file path=customXml/_rels/item8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8.xml"/></Relationships>
</file>

<file path=customXml/_rels/item8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9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0.xml"/></Relationships>
</file>

<file path=customXml/_rels/item8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1.xml"/></Relationships>
</file>

<file path=customXml/_rels/item8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2.xml"/></Relationships>
</file>

<file path=customXml/_rels/item8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3.xml"/></Relationships>
</file>

<file path=customXml/_rels/item8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4.xml"/></Relationships>
</file>

<file path=customXml/_rels/item8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5.xml"/></Relationships>
</file>

<file path=customXml/_rels/item8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6.xml"/></Relationships>
</file>

<file path=customXml/_rels/item8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7.xml"/></Relationships>
</file>

<file path=customXml/_rels/item8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8.xml"/></Relationships>
</file>

<file path=customXml/_rels/item8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9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0.xml"/></Relationships>
</file>

<file path=customXml/_rels/item8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1.xml"/></Relationships>
</file>

<file path=customXml/_rels/item8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2.xml"/></Relationships>
</file>

<file path=customXml/_rels/item8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3.xml"/></Relationships>
</file>

<file path=customXml/_rels/item8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4.xml"/></Relationships>
</file>

<file path=customXml/_rels/item8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5.xml"/></Relationships>
</file>

<file path=customXml/_rels/item8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6.xml"/></Relationships>
</file>

<file path=customXml/_rels/item8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7.xml"/></Relationships>
</file>

<file path=customXml/_rels/item8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8.xml"/></Relationships>
</file>

<file path=customXml/_rels/item8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9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0.xml"/></Relationships>
</file>

<file path=customXml/_rels/item8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1.xml"/></Relationships>
</file>

<file path=customXml/_rels/item8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2.xml"/></Relationships>
</file>

<file path=customXml/_rels/item8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3.xml"/></Relationships>
</file>

<file path=customXml/_rels/item8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4.xml"/></Relationships>
</file>

<file path=customXml/_rels/item8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5.xml"/></Relationships>
</file>

<file path=customXml/_rels/item8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6.xml"/></Relationships>
</file>

<file path=customXml/_rels/item8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7.xml"/></Relationships>
</file>

<file path=customXml/_rels/item8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8.xml"/></Relationships>
</file>

<file path=customXml/_rels/item8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9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0.xml"/></Relationships>
</file>

<file path=customXml/_rels/item8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1.xml"/></Relationships>
</file>

<file path=customXml/_rels/item8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2.xml"/></Relationships>
</file>

<file path=customXml/_rels/item8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3.xml"/></Relationships>
</file>

<file path=customXml/_rels/item8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4.xml"/></Relationships>
</file>

<file path=customXml/_rels/item8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5.xml"/></Relationships>
</file>

<file path=customXml/_rels/item8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6.xml"/></Relationships>
</file>

<file path=customXml/_rels/item8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7.xml"/></Relationships>
</file>

<file path=customXml/_rels/item8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8.xml"/></Relationships>
</file>

<file path=customXml/_rels/item8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9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0.xml"/></Relationships>
</file>

<file path=customXml/_rels/item8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1.xml"/></Relationships>
</file>

<file path=customXml/_rels/item8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2.xml"/></Relationships>
</file>

<file path=customXml/_rels/item8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3.xml"/></Relationships>
</file>

<file path=customXml/_rels/item8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4.xml"/></Relationships>
</file>

<file path=customXml/_rels/item8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5.xml"/></Relationships>
</file>

<file path=customXml/_rels/item8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6.xml"/></Relationships>
</file>

<file path=customXml/_rels/item8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7.xml"/></Relationships>
</file>

<file path=customXml/_rels/item8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8.xml"/></Relationships>
</file>

<file path=customXml/_rels/item8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9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0.xml"/></Relationships>
</file>

<file path=customXml/_rels/item8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1.xml"/></Relationships>
</file>

<file path=customXml/_rels/item8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2.xml"/></Relationships>
</file>

<file path=customXml/_rels/item8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3.xml"/></Relationships>
</file>

<file path=customXml/_rels/item8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4.xml"/></Relationships>
</file>

<file path=customXml/_rels/item8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5.xml"/></Relationships>
</file>

<file path=customXml/_rels/item8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6.xml"/></Relationships>
</file>

<file path=customXml/_rels/item8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7.xml"/></Relationships>
</file>

<file path=customXml/_rels/item8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8.xml"/></Relationships>
</file>

<file path=customXml/_rels/item8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9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8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0.xml"/></Relationships>
</file>

<file path=customXml/_rels/item8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1.xml"/></Relationships>
</file>

<file path=customXml/_rels/item8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2.xml"/></Relationships>
</file>

<file path=customXml/_rels/item8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3.xml"/></Relationships>
</file>

<file path=customXml/_rels/item8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4.xml"/></Relationships>
</file>

<file path=customXml/_rels/item8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5.xml"/></Relationships>
</file>

<file path=customXml/_rels/item8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6.xml"/></Relationships>
</file>

<file path=customXml/_rels/item8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7.xml"/></Relationships>
</file>

<file path=customXml/_rels/item8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8.xml"/></Relationships>
</file>

<file path=customXml/_rels/item8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0.xml"/></Relationships>
</file>

<file path=customXml/_rels/item9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1.xml"/></Relationships>
</file>

<file path=customXml/_rels/item9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2.xml"/></Relationships>
</file>

<file path=customXml/_rels/item9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3.xml"/></Relationships>
</file>

<file path=customXml/_rels/item9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4.xml"/></Relationships>
</file>

<file path=customXml/_rels/item9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5.xml"/></Relationships>
</file>

<file path=customXml/_rels/item9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6.xml"/></Relationships>
</file>

<file path=customXml/_rels/item9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7.xml"/></Relationships>
</file>

<file path=customXml/_rels/item9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8.xml"/></Relationships>
</file>

<file path=customXml/_rels/item9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9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0.xml"/></Relationships>
</file>

<file path=customXml/_rels/item9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1.xml"/></Relationships>
</file>

<file path=customXml/_rels/item9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2.xml"/></Relationships>
</file>

<file path=customXml/_rels/item9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3.xml"/></Relationships>
</file>

<file path=customXml/_rels/item9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4.xml"/></Relationships>
</file>

<file path=customXml/_rels/item9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5.xml"/></Relationships>
</file>

<file path=customXml/_rels/item9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6.xml"/></Relationships>
</file>

<file path=customXml/_rels/item9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7.xml"/></Relationships>
</file>

<file path=customXml/_rels/item9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8.xml"/></Relationships>
</file>

<file path=customXml/_rels/item9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9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0.xml"/></Relationships>
</file>

<file path=customXml/_rels/item9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1.xml"/></Relationships>
</file>

<file path=customXml/_rels/item9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2.xml"/></Relationships>
</file>

<file path=customXml/_rels/item9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3.xml"/></Relationships>
</file>

<file path=customXml/_rels/item9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4.xml"/></Relationships>
</file>

<file path=customXml/_rels/item9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5.xml"/></Relationships>
</file>

<file path=customXml/_rels/item9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6.xml"/></Relationships>
</file>

<file path=customXml/_rels/item9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7.xml"/></Relationships>
</file>

<file path=customXml/_rels/item9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8.xml"/></Relationships>
</file>

<file path=customXml/_rels/item9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9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0.xml"/></Relationships>
</file>

<file path=customXml/_rels/item9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1.xml"/></Relationships>
</file>

<file path=customXml/_rels/item9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2.xml"/></Relationships>
</file>

<file path=customXml/_rels/item9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3.xml"/></Relationships>
</file>

<file path=customXml/_rels/item9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4.xml"/></Relationships>
</file>

<file path=customXml/_rels/item9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5.xml"/></Relationships>
</file>

<file path=customXml/_rels/item9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6.xml"/></Relationships>
</file>

<file path=customXml/_rels/item9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7.xml"/></Relationships>
</file>

<file path=customXml/_rels/item9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8.xml"/></Relationships>
</file>

<file path=customXml/_rels/item9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9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0.xml"/></Relationships>
</file>

<file path=customXml/_rels/item9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1.xml"/></Relationships>
</file>

<file path=customXml/_rels/item9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2.xml"/></Relationships>
</file>

<file path=customXml/_rels/item9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3.xml"/></Relationships>
</file>

<file path=customXml/_rels/item9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4.xml"/></Relationships>
</file>

<file path=customXml/_rels/item9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5.xml"/></Relationships>
</file>

<file path=customXml/_rels/item9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6.xml"/></Relationships>
</file>

<file path=customXml/_rels/item9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7.xml"/></Relationships>
</file>

<file path=customXml/_rels/item9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8.xml"/></Relationships>
</file>

<file path=customXml/_rels/item9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9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0.xml"/></Relationships>
</file>

<file path=customXml/_rels/item9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1.xml"/></Relationships>
</file>

<file path=customXml/_rels/item9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2.xml"/></Relationships>
</file>

<file path=customXml/_rels/item9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3.xml"/></Relationships>
</file>

<file path=customXml/_rels/item9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4.xml"/></Relationships>
</file>

<file path=customXml/_rels/item9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5.xml"/></Relationships>
</file>

<file path=customXml/_rels/item9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6.xml"/></Relationships>
</file>

<file path=customXml/_rels/item9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7.xml"/></Relationships>
</file>

<file path=customXml/_rels/item9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8.xml"/></Relationships>
</file>

<file path=customXml/_rels/item9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9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0.xml"/></Relationships>
</file>

<file path=customXml/_rels/item9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1.xml"/></Relationships>
</file>

<file path=customXml/_rels/item9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2.xml"/></Relationships>
</file>

<file path=customXml/_rels/item9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3.xml"/></Relationships>
</file>

<file path=customXml/_rels/item9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4.xml"/></Relationships>
</file>

<file path=customXml/_rels/item9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5.xml"/></Relationships>
</file>

<file path=customXml/_rels/item9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6.xml"/></Relationships>
</file>

<file path=customXml/_rels/item9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7.xml"/></Relationships>
</file>

<file path=customXml/_rels/item9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8.xml"/></Relationships>
</file>

<file path=customXml/_rels/item9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9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0.xml"/></Relationships>
</file>

<file path=customXml/_rels/item9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1.xml"/></Relationships>
</file>

<file path=customXml/_rels/item9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2.xml"/></Relationships>
</file>

<file path=customXml/_rels/item9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3.xml"/></Relationships>
</file>

<file path=customXml/_rels/item9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4.xml"/></Relationships>
</file>

<file path=customXml/_rels/item9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5.xml"/></Relationships>
</file>

<file path=customXml/_rels/item9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6.xml"/></Relationships>
</file>

<file path=customXml/_rels/item9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7.xml"/></Relationships>
</file>

<file path=customXml/_rels/item9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8.xml"/></Relationships>
</file>

<file path=customXml/_rels/item9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9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_rels/item9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0.xml"/></Relationships>
</file>

<file path=customXml/_rels/item9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1.xml"/></Relationships>
</file>

<file path=customXml/_rels/item9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2.xml"/></Relationships>
</file>

<file path=customXml/_rels/item9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3.xml"/></Relationships>
</file>

<file path=customXml/_rels/item9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4.xml"/></Relationships>
</file>

<file path=customXml/_rels/item9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5.xml"/></Relationships>
</file>

<file path=customXml/_rels/item9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6.xml"/></Relationships>
</file>

<file path=customXml/_rels/item9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7.xml"/></Relationships>
</file>

<file path=customXml/_rels/item9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8.xml"/></Relationships>
</file>

<file path=customXml/_rels/item9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9.xml"/></Relationships>
</file>

<file path=customXml/_rels/item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.xml"/></Relationships>
</file>

<file path=customXml/_rels/item9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0.xml"/></Relationships>
</file>

<file path=customXml/_rels/item9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1.xml"/></Relationships>
</file>

<file path=customXml/_rels/item9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2.xml"/></Relationships>
</file>

<file path=customXml/_rels/item9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3.xml"/></Relationships>
</file>

<file path=customXml/_rels/item9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4.xml"/></Relationships>
</file>

<file path=customXml/_rels/item9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5.xml"/></Relationships>
</file>

<file path=customXml/_rels/item9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6.xml"/></Relationships>
</file>

<file path=customXml/_rels/item9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7.xml"/></Relationships>
</file>

<file path=customXml/_rels/item9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8.xml"/></Relationships>
</file>

<file path=customXml/_rels/item9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0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0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0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0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0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1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1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1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1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1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2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2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2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2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3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3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3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4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4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4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4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4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5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5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5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5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5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5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6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6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6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6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7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7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7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7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8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8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8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8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9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09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9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0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0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0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0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0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0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1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2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2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2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2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2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2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3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3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3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3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3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4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4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4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4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4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5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5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5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5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5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6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6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6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6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6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7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7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7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7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8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8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8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8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8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8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18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9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9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1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2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2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2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20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2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0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2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2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0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2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2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2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3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3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3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3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4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4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5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6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6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6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6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6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7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7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7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7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8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8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9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1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0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0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0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3daa2cf-7d41-4bd5-a419-a50b4f890ec2" xsi:nil="true"/>
    <lcf76f155ced4ddcb4097134ff3c332f xmlns="d4f0ad59-9db4-4f2d-8eeb-402f9842b207">
      <Terms xmlns="http://schemas.microsoft.com/office/infopath/2007/PartnerControls"/>
    </lcf76f155ced4ddcb4097134ff3c332f>
  </documentManagement>
</p:properties>
</file>

<file path=customXml/item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1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1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2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2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3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3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3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3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3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3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4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4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4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4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4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4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4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4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5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5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6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6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6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7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7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7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7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8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8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8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9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9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9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9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2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9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9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0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0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0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0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0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1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1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1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1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2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2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2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2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3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3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3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4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4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4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4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4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4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5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5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5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5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6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6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7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7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7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7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7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8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8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8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8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8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8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9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9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9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9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3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9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0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0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0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0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0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0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1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1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2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2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3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3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3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3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3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4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4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4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4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4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4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5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5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5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5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5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5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6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6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6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6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6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7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7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7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8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8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8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8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8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8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9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9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9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9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9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49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0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0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0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0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0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0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1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1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1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2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2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2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2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2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2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3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4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4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4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4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4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4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4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5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5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6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7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7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7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7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7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7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8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8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8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9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9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59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0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0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0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0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1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1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2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2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2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2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2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3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3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3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3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4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4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4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4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4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4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5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5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6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6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6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6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6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6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7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7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7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8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8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8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8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8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8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9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69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9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9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9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9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0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0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0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0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0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0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1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1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2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2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2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2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2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3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3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3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3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4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4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4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4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5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5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5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6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6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6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6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6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6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7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7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7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7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7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8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8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8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8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9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9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9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7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9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9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9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0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0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0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0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0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0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0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1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1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77D961AC330D469646CE7A82F55540" ma:contentTypeVersion="16" ma:contentTypeDescription="Create a new document." ma:contentTypeScope="" ma:versionID="d5cf49f9ad0d5dcd7ad6c77e90b680ff">
  <xsd:schema xmlns:xsd="http://www.w3.org/2001/XMLSchema" xmlns:xs="http://www.w3.org/2001/XMLSchema" xmlns:p="http://schemas.microsoft.com/office/2006/metadata/properties" xmlns:ns2="d4f0ad59-9db4-4f2d-8eeb-402f9842b207" xmlns:ns3="f3daa2cf-7d41-4bd5-a419-a50b4f890ec2" targetNamespace="http://schemas.microsoft.com/office/2006/metadata/properties" ma:root="true" ma:fieldsID="10b6f4fa1193a7f104ddee4028e4faf8" ns2:_="" ns3:_="">
    <xsd:import namespace="d4f0ad59-9db4-4f2d-8eeb-402f9842b207"/>
    <xsd:import namespace="f3daa2cf-7d41-4bd5-a419-a50b4f890ec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f0ad59-9db4-4f2d-8eeb-402f9842b2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daa2cf-7d41-4bd5-a419-a50b4f890ec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22928af-6a73-4126-9528-958f18d3e52e}" ma:internalName="TaxCatchAll" ma:showField="CatchAllData" ma:web="f3daa2cf-7d41-4bd5-a419-a50b4f890ec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1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2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2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2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2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2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3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3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3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3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3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3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4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4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4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4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4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5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5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5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5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5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5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6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6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6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6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6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7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7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7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7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7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7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8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8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8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8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8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9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9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9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89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0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0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0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0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0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1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1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1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1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2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2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2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2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3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3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3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3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4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4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4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4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5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5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6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6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6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6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7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7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7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7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7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7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8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8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8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8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8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9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99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9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B1E6F29B97840A0571ABEFF467DBF" ma:contentTypeVersion="14" ma:contentTypeDescription="Create a new document." ma:contentTypeScope="" ma:versionID="9b91283a2768366543bcec9eefa1cb5f">
  <xsd:schema xmlns:xsd="http://www.w3.org/2001/XMLSchema" xmlns:xs="http://www.w3.org/2001/XMLSchema" xmlns:p="http://schemas.microsoft.com/office/2006/metadata/properties" xmlns:ns2="a5df8268-3b34-4463-a895-3ec8cfc42bd5" xmlns:ns3="a65d7cdc-7643-4b47-b7ee-f2c9d8fd8459" targetNamespace="http://schemas.microsoft.com/office/2006/metadata/properties" ma:root="true" ma:fieldsID="abee2121b7741ad5e80fc0d4fec1fcd5" ns2:_="" ns3:_="">
    <xsd:import namespace="a5df8268-3b34-4463-a895-3ec8cfc42bd5"/>
    <xsd:import namespace="a65d7cdc-7643-4b47-b7ee-f2c9d8fd84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Comme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df8268-3b34-4463-a895-3ec8cfc42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63b4f369-e68d-40dc-b20e-bd2c7c5d9b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5d7cdc-7643-4b47-b7ee-f2c9d8fd8459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01f3255-953d-4ca4-a6ab-46913c04d555}" ma:internalName="TaxCatchAll" ma:showField="CatchAllData" ma:web="a65d7cdc-7643-4b47-b7ee-f2c9d8fd84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99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a5df8268-3b34-4463-a895-3ec8cfc42bd5">210Mb</Comments>
    <lcf76f155ced4ddcb4097134ff3c332f xmlns="a5df8268-3b34-4463-a895-3ec8cfc42bd5">
      <Terms xmlns="http://schemas.microsoft.com/office/infopath/2007/PartnerControls"/>
    </lcf76f155ced4ddcb4097134ff3c332f>
    <TaxCatchAll xmlns="a65d7cdc-7643-4b47-b7ee-f2c9d8fd8459" xsi:nil="true"/>
    <SharedWithUsers xmlns="a65d7cdc-7643-4b47-b7ee-f2c9d8fd8459">
      <UserInfo>
        <DisplayName>Zanelli,Alessandro,UA-Kyiv</DisplayName>
        <AccountId>12</AccountId>
        <AccountType/>
      </UserInfo>
      <UserInfo>
        <DisplayName>Alevizos,Christos,GR-Maroussi</DisplayName>
        <AccountId>107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72F71068-D332-43E2-B128-A5124586BA05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396AAD83-51E8-4928-A2E4-CD75B4475FA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0.xml><?xml version="1.0" encoding="utf-8"?>
<ds:datastoreItem xmlns:ds="http://schemas.openxmlformats.org/officeDocument/2006/customXml" ds:itemID="{A7BF531E-E292-4694-A25E-E796D05B09A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00.xml><?xml version="1.0" encoding="utf-8"?>
<ds:datastoreItem xmlns:ds="http://schemas.openxmlformats.org/officeDocument/2006/customXml" ds:itemID="{3378DCB2-1A8B-4509-9DD6-8548A7EB8D8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01.xml><?xml version="1.0" encoding="utf-8"?>
<ds:datastoreItem xmlns:ds="http://schemas.openxmlformats.org/officeDocument/2006/customXml" ds:itemID="{B8AB0A3B-21C0-4F14-B938-18D40204272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02.xml><?xml version="1.0" encoding="utf-8"?>
<ds:datastoreItem xmlns:ds="http://schemas.openxmlformats.org/officeDocument/2006/customXml" ds:itemID="{44D92A6C-E7BF-484F-9A7F-C3A8005A07D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03.xml><?xml version="1.0" encoding="utf-8"?>
<ds:datastoreItem xmlns:ds="http://schemas.openxmlformats.org/officeDocument/2006/customXml" ds:itemID="{473E3395-401D-417E-8547-6B4FEB49793F}">
  <ds:schemaRefs>
    <ds:schemaRef ds:uri="http://schemas.microsoft.com/sharepoint/v3/contenttype/forms"/>
  </ds:schemaRefs>
</ds:datastoreItem>
</file>

<file path=customXml/itemProps1004.xml><?xml version="1.0" encoding="utf-8"?>
<ds:datastoreItem xmlns:ds="http://schemas.openxmlformats.org/officeDocument/2006/customXml" ds:itemID="{431DD551-7B06-4478-9CBE-C7E5A6F2469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05.xml><?xml version="1.0" encoding="utf-8"?>
<ds:datastoreItem xmlns:ds="http://schemas.openxmlformats.org/officeDocument/2006/customXml" ds:itemID="{5238E273-C416-4BD3-944A-7D993ED3AB10}">
  <ds:schemaRefs>
    <ds:schemaRef ds:uri="http://schemas.microsoft.com/sharepoint/v3/contenttype/forms"/>
  </ds:schemaRefs>
</ds:datastoreItem>
</file>

<file path=customXml/itemProps1006.xml><?xml version="1.0" encoding="utf-8"?>
<ds:datastoreItem xmlns:ds="http://schemas.openxmlformats.org/officeDocument/2006/customXml" ds:itemID="{42F6F938-5644-442D-BB60-43B82CED77AB}">
  <ds:schemaRefs>
    <ds:schemaRef ds:uri="http://schemas.microsoft.com/sharepoint/v3/contenttype/forms"/>
  </ds:schemaRefs>
</ds:datastoreItem>
</file>

<file path=customXml/itemProps1007.xml><?xml version="1.0" encoding="utf-8"?>
<ds:datastoreItem xmlns:ds="http://schemas.openxmlformats.org/officeDocument/2006/customXml" ds:itemID="{D26DC36D-1484-46BF-A6B2-D1957BD332AA}">
  <ds:schemaRefs>
    <ds:schemaRef ds:uri="http://schemas.microsoft.com/sharepoint/v3/contenttype/forms"/>
  </ds:schemaRefs>
</ds:datastoreItem>
</file>

<file path=customXml/itemProps1008.xml><?xml version="1.0" encoding="utf-8"?>
<ds:datastoreItem xmlns:ds="http://schemas.openxmlformats.org/officeDocument/2006/customXml" ds:itemID="{F13F3769-F634-4A12-BE40-84C3B59B383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09.xml><?xml version="1.0" encoding="utf-8"?>
<ds:datastoreItem xmlns:ds="http://schemas.openxmlformats.org/officeDocument/2006/customXml" ds:itemID="{0D8D114B-9FCF-47AE-88B6-2EC2ADA3683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1.xml><?xml version="1.0" encoding="utf-8"?>
<ds:datastoreItem xmlns:ds="http://schemas.openxmlformats.org/officeDocument/2006/customXml" ds:itemID="{71F74836-A6A7-439A-9058-A2857F2C9D3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10.xml><?xml version="1.0" encoding="utf-8"?>
<ds:datastoreItem xmlns:ds="http://schemas.openxmlformats.org/officeDocument/2006/customXml" ds:itemID="{161111BD-33C8-443E-B71D-0B6561D322C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11.xml><?xml version="1.0" encoding="utf-8"?>
<ds:datastoreItem xmlns:ds="http://schemas.openxmlformats.org/officeDocument/2006/customXml" ds:itemID="{CA2850F7-3947-434C-8E63-7FC1AE0259E2}">
  <ds:schemaRefs>
    <ds:schemaRef ds:uri="http://schemas.microsoft.com/sharepoint/v3/contenttype/forms"/>
  </ds:schemaRefs>
</ds:datastoreItem>
</file>

<file path=customXml/itemProps1012.xml><?xml version="1.0" encoding="utf-8"?>
<ds:datastoreItem xmlns:ds="http://schemas.openxmlformats.org/officeDocument/2006/customXml" ds:itemID="{538D980D-B39C-4C0F-A4F7-D0CD3BA9A52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13.xml><?xml version="1.0" encoding="utf-8"?>
<ds:datastoreItem xmlns:ds="http://schemas.openxmlformats.org/officeDocument/2006/customXml" ds:itemID="{784F2321-C7FC-49A2-AEE2-42DE2384385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14.xml><?xml version="1.0" encoding="utf-8"?>
<ds:datastoreItem xmlns:ds="http://schemas.openxmlformats.org/officeDocument/2006/customXml" ds:itemID="{237E85FE-DA59-464E-B145-13BFB5161B4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15.xml><?xml version="1.0" encoding="utf-8"?>
<ds:datastoreItem xmlns:ds="http://schemas.openxmlformats.org/officeDocument/2006/customXml" ds:itemID="{E9904B6B-31E4-49B1-B047-3BA8E4F99E5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16.xml><?xml version="1.0" encoding="utf-8"?>
<ds:datastoreItem xmlns:ds="http://schemas.openxmlformats.org/officeDocument/2006/customXml" ds:itemID="{CCE9910A-2006-4581-9D01-B5D6B3F9275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17.xml><?xml version="1.0" encoding="utf-8"?>
<ds:datastoreItem xmlns:ds="http://schemas.openxmlformats.org/officeDocument/2006/customXml" ds:itemID="{6BD4728F-B552-4AF8-9298-496BD95D4135}">
  <ds:schemaRefs>
    <ds:schemaRef ds:uri="http://schemas.microsoft.com/sharepoint/v3/contenttype/forms"/>
  </ds:schemaRefs>
</ds:datastoreItem>
</file>

<file path=customXml/itemProps1018.xml><?xml version="1.0" encoding="utf-8"?>
<ds:datastoreItem xmlns:ds="http://schemas.openxmlformats.org/officeDocument/2006/customXml" ds:itemID="{3324837D-79CF-4713-A1FD-DDC92EEAA1E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19.xml><?xml version="1.0" encoding="utf-8"?>
<ds:datastoreItem xmlns:ds="http://schemas.openxmlformats.org/officeDocument/2006/customXml" ds:itemID="{04E84A7E-7EC9-4B70-9BCE-CAF1687110C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2.xml><?xml version="1.0" encoding="utf-8"?>
<ds:datastoreItem xmlns:ds="http://schemas.openxmlformats.org/officeDocument/2006/customXml" ds:itemID="{3A4EAA56-837A-41C9-8980-450AAC8FCCC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20.xml><?xml version="1.0" encoding="utf-8"?>
<ds:datastoreItem xmlns:ds="http://schemas.openxmlformats.org/officeDocument/2006/customXml" ds:itemID="{B0B68ACA-C86A-4A05-8F2A-8A60B3E6633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21.xml><?xml version="1.0" encoding="utf-8"?>
<ds:datastoreItem xmlns:ds="http://schemas.openxmlformats.org/officeDocument/2006/customXml" ds:itemID="{3003ACB6-8C8B-4982-8B57-C485EB338C1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22.xml><?xml version="1.0" encoding="utf-8"?>
<ds:datastoreItem xmlns:ds="http://schemas.openxmlformats.org/officeDocument/2006/customXml" ds:itemID="{957C976D-6F7C-4E1F-93F1-F0E0C47AE46D}">
  <ds:schemaRefs>
    <ds:schemaRef ds:uri="http://schemas.microsoft.com/sharepoint/v3/contenttype/forms"/>
  </ds:schemaRefs>
</ds:datastoreItem>
</file>

<file path=customXml/itemProps1023.xml><?xml version="1.0" encoding="utf-8"?>
<ds:datastoreItem xmlns:ds="http://schemas.openxmlformats.org/officeDocument/2006/customXml" ds:itemID="{C4DFE718-FD90-4EE2-9B6F-6C50361F8C1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24.xml><?xml version="1.0" encoding="utf-8"?>
<ds:datastoreItem xmlns:ds="http://schemas.openxmlformats.org/officeDocument/2006/customXml" ds:itemID="{1BD6645E-3BFC-43D1-913A-D704D3DA136D}">
  <ds:schemaRefs>
    <ds:schemaRef ds:uri="http://schemas.microsoft.com/sharepoint/v3/contenttype/forms"/>
  </ds:schemaRefs>
</ds:datastoreItem>
</file>

<file path=customXml/itemProps1025.xml><?xml version="1.0" encoding="utf-8"?>
<ds:datastoreItem xmlns:ds="http://schemas.openxmlformats.org/officeDocument/2006/customXml" ds:itemID="{5E5FD82B-E6BC-4624-AF6F-DCCAC929E1D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26.xml><?xml version="1.0" encoding="utf-8"?>
<ds:datastoreItem xmlns:ds="http://schemas.openxmlformats.org/officeDocument/2006/customXml" ds:itemID="{AEBDE532-D745-4BF9-AEB5-5DBC28CCBF7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27.xml><?xml version="1.0" encoding="utf-8"?>
<ds:datastoreItem xmlns:ds="http://schemas.openxmlformats.org/officeDocument/2006/customXml" ds:itemID="{54E6DAAB-68BC-4809-8CA5-5DC9D6D53986}">
  <ds:schemaRefs>
    <ds:schemaRef ds:uri="http://schemas.microsoft.com/sharepoint/v3/contenttype/forms"/>
  </ds:schemaRefs>
</ds:datastoreItem>
</file>

<file path=customXml/itemProps1028.xml><?xml version="1.0" encoding="utf-8"?>
<ds:datastoreItem xmlns:ds="http://schemas.openxmlformats.org/officeDocument/2006/customXml" ds:itemID="{CC11A3DD-C47D-43AC-B510-EA338F009A3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29.xml><?xml version="1.0" encoding="utf-8"?>
<ds:datastoreItem xmlns:ds="http://schemas.openxmlformats.org/officeDocument/2006/customXml" ds:itemID="{D30C8805-C928-49DC-828E-E166B0E08E4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3.xml><?xml version="1.0" encoding="utf-8"?>
<ds:datastoreItem xmlns:ds="http://schemas.openxmlformats.org/officeDocument/2006/customXml" ds:itemID="{29754345-99B6-4E95-A608-AC565766BC8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30.xml><?xml version="1.0" encoding="utf-8"?>
<ds:datastoreItem xmlns:ds="http://schemas.openxmlformats.org/officeDocument/2006/customXml" ds:itemID="{914EFC72-8846-4DA7-8434-7F7259C1CE7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31.xml><?xml version="1.0" encoding="utf-8"?>
<ds:datastoreItem xmlns:ds="http://schemas.openxmlformats.org/officeDocument/2006/customXml" ds:itemID="{6102DDBA-F40F-472C-85A3-CAE77BD505A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32.xml><?xml version="1.0" encoding="utf-8"?>
<ds:datastoreItem xmlns:ds="http://schemas.openxmlformats.org/officeDocument/2006/customXml" ds:itemID="{7629D4B3-2D80-4918-89EC-6AB472BE9B8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33.xml><?xml version="1.0" encoding="utf-8"?>
<ds:datastoreItem xmlns:ds="http://schemas.openxmlformats.org/officeDocument/2006/customXml" ds:itemID="{6D409DA9-BB58-4D30-9910-E72CE52035A6}">
  <ds:schemaRefs>
    <ds:schemaRef ds:uri="http://schemas.microsoft.com/sharepoint/v3/contenttype/forms"/>
  </ds:schemaRefs>
</ds:datastoreItem>
</file>

<file path=customXml/itemProps1034.xml><?xml version="1.0" encoding="utf-8"?>
<ds:datastoreItem xmlns:ds="http://schemas.openxmlformats.org/officeDocument/2006/customXml" ds:itemID="{1DFB1065-AF79-4C11-B30E-FCA17310B51E}">
  <ds:schemaRefs>
    <ds:schemaRef ds:uri="http://schemas.microsoft.com/sharepoint/v3/contenttype/forms"/>
  </ds:schemaRefs>
</ds:datastoreItem>
</file>

<file path=customXml/itemProps1035.xml><?xml version="1.0" encoding="utf-8"?>
<ds:datastoreItem xmlns:ds="http://schemas.openxmlformats.org/officeDocument/2006/customXml" ds:itemID="{DE5DFF53-9654-42A1-A689-DA37CB20862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36.xml><?xml version="1.0" encoding="utf-8"?>
<ds:datastoreItem xmlns:ds="http://schemas.openxmlformats.org/officeDocument/2006/customXml" ds:itemID="{7381DAAF-544D-4EE3-A2F7-DACFC892AA3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37.xml><?xml version="1.0" encoding="utf-8"?>
<ds:datastoreItem xmlns:ds="http://schemas.openxmlformats.org/officeDocument/2006/customXml" ds:itemID="{FE92297D-0259-466F-A3A4-8EAC9B4F627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38.xml><?xml version="1.0" encoding="utf-8"?>
<ds:datastoreItem xmlns:ds="http://schemas.openxmlformats.org/officeDocument/2006/customXml" ds:itemID="{AA697CCB-347C-47C3-8914-2E1416CD72C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39.xml><?xml version="1.0" encoding="utf-8"?>
<ds:datastoreItem xmlns:ds="http://schemas.openxmlformats.org/officeDocument/2006/customXml" ds:itemID="{513AD482-D68E-45B5-9207-ED78623A1C4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4.xml><?xml version="1.0" encoding="utf-8"?>
<ds:datastoreItem xmlns:ds="http://schemas.openxmlformats.org/officeDocument/2006/customXml" ds:itemID="{F421C528-95DD-46AC-896C-5665700714DC}">
  <ds:schemaRefs>
    <ds:schemaRef ds:uri="http://schemas.microsoft.com/sharepoint/v3/contenttype/forms"/>
  </ds:schemaRefs>
</ds:datastoreItem>
</file>

<file path=customXml/itemProps1040.xml><?xml version="1.0" encoding="utf-8"?>
<ds:datastoreItem xmlns:ds="http://schemas.openxmlformats.org/officeDocument/2006/customXml" ds:itemID="{A1442000-5F5C-4F0E-A1BD-D4597A017B6A}">
  <ds:schemaRefs>
    <ds:schemaRef ds:uri="http://schemas.microsoft.com/sharepoint/v3/contenttype/forms"/>
  </ds:schemaRefs>
</ds:datastoreItem>
</file>

<file path=customXml/itemProps1041.xml><?xml version="1.0" encoding="utf-8"?>
<ds:datastoreItem xmlns:ds="http://schemas.openxmlformats.org/officeDocument/2006/customXml" ds:itemID="{0D318282-B763-4EBD-8140-3FA45D06442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42.xml><?xml version="1.0" encoding="utf-8"?>
<ds:datastoreItem xmlns:ds="http://schemas.openxmlformats.org/officeDocument/2006/customXml" ds:itemID="{AE4903B4-10F3-4EBB-A9E7-C8EA149E309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43.xml><?xml version="1.0" encoding="utf-8"?>
<ds:datastoreItem xmlns:ds="http://schemas.openxmlformats.org/officeDocument/2006/customXml" ds:itemID="{FFBAE415-E705-46B8-A31E-AE3DFD74AB8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44.xml><?xml version="1.0" encoding="utf-8"?>
<ds:datastoreItem xmlns:ds="http://schemas.openxmlformats.org/officeDocument/2006/customXml" ds:itemID="{03A01056-1591-4239-870A-1E09FDC61A91}">
  <ds:schemaRefs>
    <ds:schemaRef ds:uri="http://schemas.microsoft.com/sharepoint/v3/contenttype/forms"/>
  </ds:schemaRefs>
</ds:datastoreItem>
</file>

<file path=customXml/itemProps1045.xml><?xml version="1.0" encoding="utf-8"?>
<ds:datastoreItem xmlns:ds="http://schemas.openxmlformats.org/officeDocument/2006/customXml" ds:itemID="{F90E2AB5-62A4-4FD7-A525-F1D77EAB591B}">
  <ds:schemaRefs>
    <ds:schemaRef ds:uri="http://schemas.microsoft.com/sharepoint/v3/contenttype/forms"/>
  </ds:schemaRefs>
</ds:datastoreItem>
</file>

<file path=customXml/itemProps1046.xml><?xml version="1.0" encoding="utf-8"?>
<ds:datastoreItem xmlns:ds="http://schemas.openxmlformats.org/officeDocument/2006/customXml" ds:itemID="{EAF06A2A-3D4B-41C5-8F76-6EC6C989320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47.xml><?xml version="1.0" encoding="utf-8"?>
<ds:datastoreItem xmlns:ds="http://schemas.openxmlformats.org/officeDocument/2006/customXml" ds:itemID="{F47CCD48-0C9B-470F-A78F-A1E53E63A213}">
  <ds:schemaRefs>
    <ds:schemaRef ds:uri="http://schemas.microsoft.com/sharepoint/v3/contenttype/forms"/>
  </ds:schemaRefs>
</ds:datastoreItem>
</file>

<file path=customXml/itemProps1048.xml><?xml version="1.0" encoding="utf-8"?>
<ds:datastoreItem xmlns:ds="http://schemas.openxmlformats.org/officeDocument/2006/customXml" ds:itemID="{5A5A85B0-E333-4A1F-BAFC-A9B4E3E1B109}">
  <ds:schemaRefs>
    <ds:schemaRef ds:uri="http://schemas.microsoft.com/sharepoint/v3/contenttype/forms"/>
  </ds:schemaRefs>
</ds:datastoreItem>
</file>

<file path=customXml/itemProps1049.xml><?xml version="1.0" encoding="utf-8"?>
<ds:datastoreItem xmlns:ds="http://schemas.openxmlformats.org/officeDocument/2006/customXml" ds:itemID="{09E86EC2-8663-45D0-959B-27153F38C66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5.xml><?xml version="1.0" encoding="utf-8"?>
<ds:datastoreItem xmlns:ds="http://schemas.openxmlformats.org/officeDocument/2006/customXml" ds:itemID="{394BF079-6503-4149-A01F-98818F1C4EC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50.xml><?xml version="1.0" encoding="utf-8"?>
<ds:datastoreItem xmlns:ds="http://schemas.openxmlformats.org/officeDocument/2006/customXml" ds:itemID="{F43C7A72-8C43-463A-B058-B17AEF26EB7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51.xml><?xml version="1.0" encoding="utf-8"?>
<ds:datastoreItem xmlns:ds="http://schemas.openxmlformats.org/officeDocument/2006/customXml" ds:itemID="{BECD89BB-EDCD-4C35-A220-B8B7C4A0C07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52.xml><?xml version="1.0" encoding="utf-8"?>
<ds:datastoreItem xmlns:ds="http://schemas.openxmlformats.org/officeDocument/2006/customXml" ds:itemID="{3B6094F3-74D5-4642-86CC-018BAF5F108B}">
  <ds:schemaRefs>
    <ds:schemaRef ds:uri="http://schemas.microsoft.com/sharepoint/v3/contenttype/forms"/>
  </ds:schemaRefs>
</ds:datastoreItem>
</file>

<file path=customXml/itemProps1053.xml><?xml version="1.0" encoding="utf-8"?>
<ds:datastoreItem xmlns:ds="http://schemas.openxmlformats.org/officeDocument/2006/customXml" ds:itemID="{099E7D8A-73D5-4C52-A520-D3AC9D2ED06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54.xml><?xml version="1.0" encoding="utf-8"?>
<ds:datastoreItem xmlns:ds="http://schemas.openxmlformats.org/officeDocument/2006/customXml" ds:itemID="{DDFD00F4-C2C0-43E5-8AB0-C40132A75D2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55.xml><?xml version="1.0" encoding="utf-8"?>
<ds:datastoreItem xmlns:ds="http://schemas.openxmlformats.org/officeDocument/2006/customXml" ds:itemID="{95156584-363E-4FF6-AC2C-21C982CBCC9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56.xml><?xml version="1.0" encoding="utf-8"?>
<ds:datastoreItem xmlns:ds="http://schemas.openxmlformats.org/officeDocument/2006/customXml" ds:itemID="{4509132E-092F-4037-B662-B6C669F3674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57.xml><?xml version="1.0" encoding="utf-8"?>
<ds:datastoreItem xmlns:ds="http://schemas.openxmlformats.org/officeDocument/2006/customXml" ds:itemID="{3DC3D7C1-0212-4099-A9ED-C9219FA7CD7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58.xml><?xml version="1.0" encoding="utf-8"?>
<ds:datastoreItem xmlns:ds="http://schemas.openxmlformats.org/officeDocument/2006/customXml" ds:itemID="{7A7D5620-DBEE-4FF5-9360-1E9A4BE00F7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59.xml><?xml version="1.0" encoding="utf-8"?>
<ds:datastoreItem xmlns:ds="http://schemas.openxmlformats.org/officeDocument/2006/customXml" ds:itemID="{6B9F5BB0-D916-4B1E-9FA5-A000C7D5453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6.xml><?xml version="1.0" encoding="utf-8"?>
<ds:datastoreItem xmlns:ds="http://schemas.openxmlformats.org/officeDocument/2006/customXml" ds:itemID="{C9AA549C-9002-4EF3-80D9-FAEF5893948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60.xml><?xml version="1.0" encoding="utf-8"?>
<ds:datastoreItem xmlns:ds="http://schemas.openxmlformats.org/officeDocument/2006/customXml" ds:itemID="{F18AD821-E66E-4D31-AB3C-3FE8481ECF95}">
  <ds:schemaRefs>
    <ds:schemaRef ds:uri="http://schemas.microsoft.com/sharepoint/v3/contenttype/forms"/>
  </ds:schemaRefs>
</ds:datastoreItem>
</file>

<file path=customXml/itemProps1061.xml><?xml version="1.0" encoding="utf-8"?>
<ds:datastoreItem xmlns:ds="http://schemas.openxmlformats.org/officeDocument/2006/customXml" ds:itemID="{4FFCD888-3CDC-4E56-A492-7D0DD14F861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62.xml><?xml version="1.0" encoding="utf-8"?>
<ds:datastoreItem xmlns:ds="http://schemas.openxmlformats.org/officeDocument/2006/customXml" ds:itemID="{8AFA8E57-126D-424F-8F52-4E869BBE6B77}">
  <ds:schemaRefs>
    <ds:schemaRef ds:uri="http://schemas.microsoft.com/sharepoint/v3/contenttype/forms"/>
  </ds:schemaRefs>
</ds:datastoreItem>
</file>

<file path=customXml/itemProps1063.xml><?xml version="1.0" encoding="utf-8"?>
<ds:datastoreItem xmlns:ds="http://schemas.openxmlformats.org/officeDocument/2006/customXml" ds:itemID="{27F2CF93-A2B1-4266-89D2-D1794CB2C9B4}">
  <ds:schemaRefs>
    <ds:schemaRef ds:uri="http://schemas.microsoft.com/sharepoint/v3/contenttype/forms"/>
  </ds:schemaRefs>
</ds:datastoreItem>
</file>

<file path=customXml/itemProps1064.xml><?xml version="1.0" encoding="utf-8"?>
<ds:datastoreItem xmlns:ds="http://schemas.openxmlformats.org/officeDocument/2006/customXml" ds:itemID="{48AD5A32-D0C3-4B73-A119-45AEEA7AF2E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65.xml><?xml version="1.0" encoding="utf-8"?>
<ds:datastoreItem xmlns:ds="http://schemas.openxmlformats.org/officeDocument/2006/customXml" ds:itemID="{AD97717D-3968-4937-9A24-6B8D0A6F2B1E}">
  <ds:schemaRefs>
    <ds:schemaRef ds:uri="http://schemas.microsoft.com/sharepoint/v3/contenttype/forms"/>
  </ds:schemaRefs>
</ds:datastoreItem>
</file>

<file path=customXml/itemProps1066.xml><?xml version="1.0" encoding="utf-8"?>
<ds:datastoreItem xmlns:ds="http://schemas.openxmlformats.org/officeDocument/2006/customXml" ds:itemID="{39D7CD3C-0C82-4932-9B5A-E92EDD18F9D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67.xml><?xml version="1.0" encoding="utf-8"?>
<ds:datastoreItem xmlns:ds="http://schemas.openxmlformats.org/officeDocument/2006/customXml" ds:itemID="{219A409D-18F5-4C20-9CE9-99C1420FCE0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68.xml><?xml version="1.0" encoding="utf-8"?>
<ds:datastoreItem xmlns:ds="http://schemas.openxmlformats.org/officeDocument/2006/customXml" ds:itemID="{8EB2B222-FC9B-4012-A45E-DB742BB12C0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69.xml><?xml version="1.0" encoding="utf-8"?>
<ds:datastoreItem xmlns:ds="http://schemas.openxmlformats.org/officeDocument/2006/customXml" ds:itemID="{DF351C0E-57C4-4388-AF39-0D9565CA07A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7.xml><?xml version="1.0" encoding="utf-8"?>
<ds:datastoreItem xmlns:ds="http://schemas.openxmlformats.org/officeDocument/2006/customXml" ds:itemID="{1B21BE81-5C40-4AFE-917E-F348962F582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70.xml><?xml version="1.0" encoding="utf-8"?>
<ds:datastoreItem xmlns:ds="http://schemas.openxmlformats.org/officeDocument/2006/customXml" ds:itemID="{049ADA93-1ED2-4AD0-AB0B-A18A678C06A1}">
  <ds:schemaRefs>
    <ds:schemaRef ds:uri="http://schemas.microsoft.com/sharepoint/v3/contenttype/forms"/>
  </ds:schemaRefs>
</ds:datastoreItem>
</file>

<file path=customXml/itemProps1071.xml><?xml version="1.0" encoding="utf-8"?>
<ds:datastoreItem xmlns:ds="http://schemas.openxmlformats.org/officeDocument/2006/customXml" ds:itemID="{2F82FC9E-837C-4E02-9853-B8F7EFEA95CB}">
  <ds:schemaRefs>
    <ds:schemaRef ds:uri="http://schemas.microsoft.com/sharepoint/v3/contenttype/forms"/>
  </ds:schemaRefs>
</ds:datastoreItem>
</file>

<file path=customXml/itemProps1072.xml><?xml version="1.0" encoding="utf-8"?>
<ds:datastoreItem xmlns:ds="http://schemas.openxmlformats.org/officeDocument/2006/customXml" ds:itemID="{8D3B7C1E-D687-498A-B040-ACA5255BC1FE}">
  <ds:schemaRefs>
    <ds:schemaRef ds:uri="http://schemas.microsoft.com/sharepoint/v3/contenttype/forms"/>
  </ds:schemaRefs>
</ds:datastoreItem>
</file>

<file path=customXml/itemProps1073.xml><?xml version="1.0" encoding="utf-8"?>
<ds:datastoreItem xmlns:ds="http://schemas.openxmlformats.org/officeDocument/2006/customXml" ds:itemID="{85708CA2-3319-4DDC-8BAF-2B184C2C35F5}">
  <ds:schemaRefs>
    <ds:schemaRef ds:uri="http://schemas.microsoft.com/sharepoint/v3/contenttype/forms"/>
  </ds:schemaRefs>
</ds:datastoreItem>
</file>

<file path=customXml/itemProps1074.xml><?xml version="1.0" encoding="utf-8"?>
<ds:datastoreItem xmlns:ds="http://schemas.openxmlformats.org/officeDocument/2006/customXml" ds:itemID="{BE637E5B-8247-4794-B181-061B37996BC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75.xml><?xml version="1.0" encoding="utf-8"?>
<ds:datastoreItem xmlns:ds="http://schemas.openxmlformats.org/officeDocument/2006/customXml" ds:itemID="{AD0BC1B2-3478-4922-A9CB-29951F787B0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76.xml><?xml version="1.0" encoding="utf-8"?>
<ds:datastoreItem xmlns:ds="http://schemas.openxmlformats.org/officeDocument/2006/customXml" ds:itemID="{50E6D1FA-4447-45DF-B493-A893AB49FD0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77.xml><?xml version="1.0" encoding="utf-8"?>
<ds:datastoreItem xmlns:ds="http://schemas.openxmlformats.org/officeDocument/2006/customXml" ds:itemID="{A290678D-14B2-4B14-92AE-48485C04618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78.xml><?xml version="1.0" encoding="utf-8"?>
<ds:datastoreItem xmlns:ds="http://schemas.openxmlformats.org/officeDocument/2006/customXml" ds:itemID="{E1ADC91D-D355-4A89-BFCB-03E5A300231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79.xml><?xml version="1.0" encoding="utf-8"?>
<ds:datastoreItem xmlns:ds="http://schemas.openxmlformats.org/officeDocument/2006/customXml" ds:itemID="{99501E7D-27F3-4E1D-B1CC-417983CA5B4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8.xml><?xml version="1.0" encoding="utf-8"?>
<ds:datastoreItem xmlns:ds="http://schemas.openxmlformats.org/officeDocument/2006/customXml" ds:itemID="{583DA5A0-4F0A-429D-BC51-07122855BBC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80.xml><?xml version="1.0" encoding="utf-8"?>
<ds:datastoreItem xmlns:ds="http://schemas.openxmlformats.org/officeDocument/2006/customXml" ds:itemID="{FAD0454E-6C8F-4DAF-9771-3FF49DAD6FDE}">
  <ds:schemaRefs>
    <ds:schemaRef ds:uri="http://schemas.microsoft.com/sharepoint/v3/contenttype/forms"/>
  </ds:schemaRefs>
</ds:datastoreItem>
</file>

<file path=customXml/itemProps1081.xml><?xml version="1.0" encoding="utf-8"?>
<ds:datastoreItem xmlns:ds="http://schemas.openxmlformats.org/officeDocument/2006/customXml" ds:itemID="{0B665298-EBC1-4427-9FC1-942B1A3C090D}">
  <ds:schemaRefs>
    <ds:schemaRef ds:uri="http://schemas.microsoft.com/sharepoint/v3/contenttype/forms"/>
  </ds:schemaRefs>
</ds:datastoreItem>
</file>

<file path=customXml/itemProps1082.xml><?xml version="1.0" encoding="utf-8"?>
<ds:datastoreItem xmlns:ds="http://schemas.openxmlformats.org/officeDocument/2006/customXml" ds:itemID="{6D2967E5-218E-4F23-8444-388BE66CCFE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83.xml><?xml version="1.0" encoding="utf-8"?>
<ds:datastoreItem xmlns:ds="http://schemas.openxmlformats.org/officeDocument/2006/customXml" ds:itemID="{464BE3BC-6D41-47FD-B3E8-420D4E787BF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84.xml><?xml version="1.0" encoding="utf-8"?>
<ds:datastoreItem xmlns:ds="http://schemas.openxmlformats.org/officeDocument/2006/customXml" ds:itemID="{DC5399B2-CD4C-4B8C-831D-47ADBDC01519}">
  <ds:schemaRefs>
    <ds:schemaRef ds:uri="http://schemas.microsoft.com/sharepoint/v3/contenttype/forms"/>
  </ds:schemaRefs>
</ds:datastoreItem>
</file>

<file path=customXml/itemProps1085.xml><?xml version="1.0" encoding="utf-8"?>
<ds:datastoreItem xmlns:ds="http://schemas.openxmlformats.org/officeDocument/2006/customXml" ds:itemID="{20DE109D-EBD1-45D0-9C97-AEDE4D474F3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86.xml><?xml version="1.0" encoding="utf-8"?>
<ds:datastoreItem xmlns:ds="http://schemas.openxmlformats.org/officeDocument/2006/customXml" ds:itemID="{9FC72818-9E30-4152-AFBD-33040B21734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87.xml><?xml version="1.0" encoding="utf-8"?>
<ds:datastoreItem xmlns:ds="http://schemas.openxmlformats.org/officeDocument/2006/customXml" ds:itemID="{8D82CC38-9D4E-41C1-B7EE-0FD8484F77A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88.xml><?xml version="1.0" encoding="utf-8"?>
<ds:datastoreItem xmlns:ds="http://schemas.openxmlformats.org/officeDocument/2006/customXml" ds:itemID="{BAA25DAA-A1F7-4FEF-AC90-D4D45DBAD35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89.xml><?xml version="1.0" encoding="utf-8"?>
<ds:datastoreItem xmlns:ds="http://schemas.openxmlformats.org/officeDocument/2006/customXml" ds:itemID="{3F78FDEB-A1ED-440A-B676-77A831E5B28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9.xml><?xml version="1.0" encoding="utf-8"?>
<ds:datastoreItem xmlns:ds="http://schemas.openxmlformats.org/officeDocument/2006/customXml" ds:itemID="{30E90661-11BC-46A9-904B-80E45481708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90.xml><?xml version="1.0" encoding="utf-8"?>
<ds:datastoreItem xmlns:ds="http://schemas.openxmlformats.org/officeDocument/2006/customXml" ds:itemID="{EEDAADCB-0B5B-475E-921A-029F537FD003}">
  <ds:schemaRefs>
    <ds:schemaRef ds:uri="http://schemas.microsoft.com/sharepoint/v3/contenttype/forms"/>
  </ds:schemaRefs>
</ds:datastoreItem>
</file>

<file path=customXml/itemProps1091.xml><?xml version="1.0" encoding="utf-8"?>
<ds:datastoreItem xmlns:ds="http://schemas.openxmlformats.org/officeDocument/2006/customXml" ds:itemID="{38465019-7F87-4D4F-A955-A63DADD42E9B}">
  <ds:schemaRefs>
    <ds:schemaRef ds:uri="http://schemas.microsoft.com/sharepoint/v3/contenttype/forms"/>
  </ds:schemaRefs>
</ds:datastoreItem>
</file>

<file path=customXml/itemProps1092.xml><?xml version="1.0" encoding="utf-8"?>
<ds:datastoreItem xmlns:ds="http://schemas.openxmlformats.org/officeDocument/2006/customXml" ds:itemID="{EE5587BD-D872-45A7-98A3-0DCFC9CA35C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93.xml><?xml version="1.0" encoding="utf-8"?>
<ds:datastoreItem xmlns:ds="http://schemas.openxmlformats.org/officeDocument/2006/customXml" ds:itemID="{8DBEE2CA-7658-4903-A0D4-BA7069357CAD}">
  <ds:schemaRefs>
    <ds:schemaRef ds:uri="http://schemas.microsoft.com/sharepoint/v3/contenttype/forms"/>
  </ds:schemaRefs>
</ds:datastoreItem>
</file>

<file path=customXml/itemProps1094.xml><?xml version="1.0" encoding="utf-8"?>
<ds:datastoreItem xmlns:ds="http://schemas.openxmlformats.org/officeDocument/2006/customXml" ds:itemID="{E14193E8-646E-4956-A26E-45274B63928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95.xml><?xml version="1.0" encoding="utf-8"?>
<ds:datastoreItem xmlns:ds="http://schemas.openxmlformats.org/officeDocument/2006/customXml" ds:itemID="{A665AD5B-FDD6-488F-8F44-FFC7DD000FE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096.xml><?xml version="1.0" encoding="utf-8"?>
<ds:datastoreItem xmlns:ds="http://schemas.openxmlformats.org/officeDocument/2006/customXml" ds:itemID="{7988066E-35FB-46B4-B933-E315A4DAA092}">
  <ds:schemaRefs>
    <ds:schemaRef ds:uri="http://schemas.microsoft.com/sharepoint/v3/contenttype/forms"/>
  </ds:schemaRefs>
</ds:datastoreItem>
</file>

<file path=customXml/itemProps1097.xml><?xml version="1.0" encoding="utf-8"?>
<ds:datastoreItem xmlns:ds="http://schemas.openxmlformats.org/officeDocument/2006/customXml" ds:itemID="{C297AFE7-1BC3-4E8E-B1BA-69050505D521}">
  <ds:schemaRefs>
    <ds:schemaRef ds:uri="http://schemas.microsoft.com/sharepoint/v3/contenttype/forms"/>
  </ds:schemaRefs>
</ds:datastoreItem>
</file>

<file path=customXml/itemProps1098.xml><?xml version="1.0" encoding="utf-8"?>
<ds:datastoreItem xmlns:ds="http://schemas.openxmlformats.org/officeDocument/2006/customXml" ds:itemID="{9675037F-25EC-4AE1-AE98-C5CAE5BFA9A7}">
  <ds:schemaRefs>
    <ds:schemaRef ds:uri="http://schemas.microsoft.com/sharepoint/v3/contenttype/forms"/>
  </ds:schemaRefs>
</ds:datastoreItem>
</file>

<file path=customXml/itemProps1099.xml><?xml version="1.0" encoding="utf-8"?>
<ds:datastoreItem xmlns:ds="http://schemas.openxmlformats.org/officeDocument/2006/customXml" ds:itemID="{3AFC1239-6DF8-4A67-B2C5-310078869D3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.xml><?xml version="1.0" encoding="utf-8"?>
<ds:datastoreItem xmlns:ds="http://schemas.openxmlformats.org/officeDocument/2006/customXml" ds:itemID="{6C46171B-9C1F-468F-9173-B6CE46405B5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0.xml><?xml version="1.0" encoding="utf-8"?>
<ds:datastoreItem xmlns:ds="http://schemas.openxmlformats.org/officeDocument/2006/customXml" ds:itemID="{BBBCEF7C-38E4-42CF-870E-CD7977506BE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00.xml><?xml version="1.0" encoding="utf-8"?>
<ds:datastoreItem xmlns:ds="http://schemas.openxmlformats.org/officeDocument/2006/customXml" ds:itemID="{4374500E-04DD-497E-9C15-C497593E26AA}">
  <ds:schemaRefs>
    <ds:schemaRef ds:uri="http://schemas.microsoft.com/sharepoint/v3/contenttype/forms"/>
  </ds:schemaRefs>
</ds:datastoreItem>
</file>

<file path=customXml/itemProps1101.xml><?xml version="1.0" encoding="utf-8"?>
<ds:datastoreItem xmlns:ds="http://schemas.openxmlformats.org/officeDocument/2006/customXml" ds:itemID="{39D0299F-E1C5-4170-BEA7-C931A6B851D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02.xml><?xml version="1.0" encoding="utf-8"?>
<ds:datastoreItem xmlns:ds="http://schemas.openxmlformats.org/officeDocument/2006/customXml" ds:itemID="{2A0D356E-95C9-4183-89A1-368AD716F82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03.xml><?xml version="1.0" encoding="utf-8"?>
<ds:datastoreItem xmlns:ds="http://schemas.openxmlformats.org/officeDocument/2006/customXml" ds:itemID="{6723CFA0-58BC-4B96-8F5D-1BCD18D89D3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04.xml><?xml version="1.0" encoding="utf-8"?>
<ds:datastoreItem xmlns:ds="http://schemas.openxmlformats.org/officeDocument/2006/customXml" ds:itemID="{FA93882A-7CBA-4758-8456-70843431035D}">
  <ds:schemaRefs>
    <ds:schemaRef ds:uri="http://schemas.microsoft.com/sharepoint/v3/contenttype/forms"/>
  </ds:schemaRefs>
</ds:datastoreItem>
</file>

<file path=customXml/itemProps1105.xml><?xml version="1.0" encoding="utf-8"?>
<ds:datastoreItem xmlns:ds="http://schemas.openxmlformats.org/officeDocument/2006/customXml" ds:itemID="{1E981491-111F-44A9-B8B5-F44CA17C855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06.xml><?xml version="1.0" encoding="utf-8"?>
<ds:datastoreItem xmlns:ds="http://schemas.openxmlformats.org/officeDocument/2006/customXml" ds:itemID="{73554923-F08B-4896-B9F8-CAA3A3DC8064}">
  <ds:schemaRefs>
    <ds:schemaRef ds:uri="http://schemas.microsoft.com/sharepoint/v3/contenttype/forms"/>
  </ds:schemaRefs>
</ds:datastoreItem>
</file>

<file path=customXml/itemProps1107.xml><?xml version="1.0" encoding="utf-8"?>
<ds:datastoreItem xmlns:ds="http://schemas.openxmlformats.org/officeDocument/2006/customXml" ds:itemID="{60F53A50-531B-45B6-BCDB-005A3B8AD61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08.xml><?xml version="1.0" encoding="utf-8"?>
<ds:datastoreItem xmlns:ds="http://schemas.openxmlformats.org/officeDocument/2006/customXml" ds:itemID="{0386CF62-0BB8-4894-99F4-A7BD265F479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09.xml><?xml version="1.0" encoding="utf-8"?>
<ds:datastoreItem xmlns:ds="http://schemas.openxmlformats.org/officeDocument/2006/customXml" ds:itemID="{4B5BEA0F-A0D6-493A-AAD5-8F3266FC9EE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1.xml><?xml version="1.0" encoding="utf-8"?>
<ds:datastoreItem xmlns:ds="http://schemas.openxmlformats.org/officeDocument/2006/customXml" ds:itemID="{59165A58-F69A-469E-9F34-421B8650D5D2}">
  <ds:schemaRefs>
    <ds:schemaRef ds:uri="http://schemas.microsoft.com/sharepoint/v3/contenttype/forms"/>
  </ds:schemaRefs>
</ds:datastoreItem>
</file>

<file path=customXml/itemProps1110.xml><?xml version="1.0" encoding="utf-8"?>
<ds:datastoreItem xmlns:ds="http://schemas.openxmlformats.org/officeDocument/2006/customXml" ds:itemID="{B7DB1E67-51DE-494E-8666-A79CEC8106D5}">
  <ds:schemaRefs>
    <ds:schemaRef ds:uri="http://schemas.microsoft.com/sharepoint/v3/contenttype/forms"/>
  </ds:schemaRefs>
</ds:datastoreItem>
</file>

<file path=customXml/itemProps1111.xml><?xml version="1.0" encoding="utf-8"?>
<ds:datastoreItem xmlns:ds="http://schemas.openxmlformats.org/officeDocument/2006/customXml" ds:itemID="{7D9A97A8-AC38-40B3-9E8D-91113D813E79}">
  <ds:schemaRefs>
    <ds:schemaRef ds:uri="http://schemas.microsoft.com/sharepoint/v3/contenttype/forms"/>
  </ds:schemaRefs>
</ds:datastoreItem>
</file>

<file path=customXml/itemProps1112.xml><?xml version="1.0" encoding="utf-8"?>
<ds:datastoreItem xmlns:ds="http://schemas.openxmlformats.org/officeDocument/2006/customXml" ds:itemID="{0F34FCE6-05B8-45BF-8E75-F24A6799890C}">
  <ds:schemaRefs>
    <ds:schemaRef ds:uri="http://schemas.microsoft.com/sharepoint/v3/contenttype/forms"/>
  </ds:schemaRefs>
</ds:datastoreItem>
</file>

<file path=customXml/itemProps1113.xml><?xml version="1.0" encoding="utf-8"?>
<ds:datastoreItem xmlns:ds="http://schemas.openxmlformats.org/officeDocument/2006/customXml" ds:itemID="{7533EBE2-4476-436B-8910-04EFC0B346A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14.xml><?xml version="1.0" encoding="utf-8"?>
<ds:datastoreItem xmlns:ds="http://schemas.openxmlformats.org/officeDocument/2006/customXml" ds:itemID="{ECFE56B2-BBCC-4428-886E-EFF266B45AA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15.xml><?xml version="1.0" encoding="utf-8"?>
<ds:datastoreItem xmlns:ds="http://schemas.openxmlformats.org/officeDocument/2006/customXml" ds:itemID="{C1567DA1-5F03-4ABC-A729-61FEA231CB2B}">
  <ds:schemaRefs>
    <ds:schemaRef ds:uri="http://schemas.microsoft.com/sharepoint/v3/contenttype/forms"/>
  </ds:schemaRefs>
</ds:datastoreItem>
</file>

<file path=customXml/itemProps1116.xml><?xml version="1.0" encoding="utf-8"?>
<ds:datastoreItem xmlns:ds="http://schemas.openxmlformats.org/officeDocument/2006/customXml" ds:itemID="{53FEFC07-4CA8-4188-9278-D864C422A1F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17.xml><?xml version="1.0" encoding="utf-8"?>
<ds:datastoreItem xmlns:ds="http://schemas.openxmlformats.org/officeDocument/2006/customXml" ds:itemID="{05ABB2E0-AC4A-4781-A3B8-CBBBD0AD83F2}">
  <ds:schemaRefs>
    <ds:schemaRef ds:uri="http://schemas.microsoft.com/sharepoint/v3/contenttype/forms"/>
  </ds:schemaRefs>
</ds:datastoreItem>
</file>

<file path=customXml/itemProps1118.xml><?xml version="1.0" encoding="utf-8"?>
<ds:datastoreItem xmlns:ds="http://schemas.openxmlformats.org/officeDocument/2006/customXml" ds:itemID="{081CA7FC-9C76-4093-818F-7883F3BB961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19.xml><?xml version="1.0" encoding="utf-8"?>
<ds:datastoreItem xmlns:ds="http://schemas.openxmlformats.org/officeDocument/2006/customXml" ds:itemID="{C7CB72E7-46E6-4D91-ACA7-2EAF58E3A88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2.xml><?xml version="1.0" encoding="utf-8"?>
<ds:datastoreItem xmlns:ds="http://schemas.openxmlformats.org/officeDocument/2006/customXml" ds:itemID="{BC082374-0AA5-4F80-8FF1-E6259AE64FC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20.xml><?xml version="1.0" encoding="utf-8"?>
<ds:datastoreItem xmlns:ds="http://schemas.openxmlformats.org/officeDocument/2006/customXml" ds:itemID="{59183619-D167-42F7-8895-FC4D65EDF903}">
  <ds:schemaRefs>
    <ds:schemaRef ds:uri="http://schemas.microsoft.com/sharepoint/v3/contenttype/forms"/>
  </ds:schemaRefs>
</ds:datastoreItem>
</file>

<file path=customXml/itemProps1121.xml><?xml version="1.0" encoding="utf-8"?>
<ds:datastoreItem xmlns:ds="http://schemas.openxmlformats.org/officeDocument/2006/customXml" ds:itemID="{A422D19A-DDE9-4A2E-B572-DAF8712E8BD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22.xml><?xml version="1.0" encoding="utf-8"?>
<ds:datastoreItem xmlns:ds="http://schemas.openxmlformats.org/officeDocument/2006/customXml" ds:itemID="{B659FA3C-C8F4-4480-9D61-46AA86837A1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23.xml><?xml version="1.0" encoding="utf-8"?>
<ds:datastoreItem xmlns:ds="http://schemas.openxmlformats.org/officeDocument/2006/customXml" ds:itemID="{A5A8BB1E-E754-45A8-BBD2-D3D6D568978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24.xml><?xml version="1.0" encoding="utf-8"?>
<ds:datastoreItem xmlns:ds="http://schemas.openxmlformats.org/officeDocument/2006/customXml" ds:itemID="{8C43FE4C-4365-4E20-9B89-6096BFE256DB}">
  <ds:schemaRefs>
    <ds:schemaRef ds:uri="http://schemas.microsoft.com/sharepoint/v3/contenttype/forms"/>
  </ds:schemaRefs>
</ds:datastoreItem>
</file>

<file path=customXml/itemProps1125.xml><?xml version="1.0" encoding="utf-8"?>
<ds:datastoreItem xmlns:ds="http://schemas.openxmlformats.org/officeDocument/2006/customXml" ds:itemID="{4E8F7DD1-AA4A-488C-98B9-865A10FBA53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26.xml><?xml version="1.0" encoding="utf-8"?>
<ds:datastoreItem xmlns:ds="http://schemas.openxmlformats.org/officeDocument/2006/customXml" ds:itemID="{E8E19AB4-75EE-40DC-984F-5C4067B60DBE}">
  <ds:schemaRefs>
    <ds:schemaRef ds:uri="http://schemas.microsoft.com/sharepoint/v3/contenttype/forms"/>
  </ds:schemaRefs>
</ds:datastoreItem>
</file>

<file path=customXml/itemProps1127.xml><?xml version="1.0" encoding="utf-8"?>
<ds:datastoreItem xmlns:ds="http://schemas.openxmlformats.org/officeDocument/2006/customXml" ds:itemID="{B5949FF2-7DD6-4CA2-B50D-91775DA9F2D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28.xml><?xml version="1.0" encoding="utf-8"?>
<ds:datastoreItem xmlns:ds="http://schemas.openxmlformats.org/officeDocument/2006/customXml" ds:itemID="{D7A448B0-165E-48FC-848E-DAEC8F218D9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29.xml><?xml version="1.0" encoding="utf-8"?>
<ds:datastoreItem xmlns:ds="http://schemas.openxmlformats.org/officeDocument/2006/customXml" ds:itemID="{7ECB0552-C8A2-4748-8F08-458FA790738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3.xml><?xml version="1.0" encoding="utf-8"?>
<ds:datastoreItem xmlns:ds="http://schemas.openxmlformats.org/officeDocument/2006/customXml" ds:itemID="{E88F9EA3-139B-4AB4-87FF-C5FF1BC61940}">
  <ds:schemaRefs>
    <ds:schemaRef ds:uri="http://schemas.microsoft.com/sharepoint/v3/contenttype/forms"/>
  </ds:schemaRefs>
</ds:datastoreItem>
</file>

<file path=customXml/itemProps1130.xml><?xml version="1.0" encoding="utf-8"?>
<ds:datastoreItem xmlns:ds="http://schemas.openxmlformats.org/officeDocument/2006/customXml" ds:itemID="{17889C30-0E91-4D0F-8D51-B51D0481CAB9}">
  <ds:schemaRefs>
    <ds:schemaRef ds:uri="http://schemas.microsoft.com/sharepoint/v3/contenttype/forms"/>
  </ds:schemaRefs>
</ds:datastoreItem>
</file>

<file path=customXml/itemProps1131.xml><?xml version="1.0" encoding="utf-8"?>
<ds:datastoreItem xmlns:ds="http://schemas.openxmlformats.org/officeDocument/2006/customXml" ds:itemID="{419CB0B3-090D-4D20-8985-E6C14830379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32.xml><?xml version="1.0" encoding="utf-8"?>
<ds:datastoreItem xmlns:ds="http://schemas.openxmlformats.org/officeDocument/2006/customXml" ds:itemID="{CD32E59D-1857-461E-95C3-D6FBDBFBC63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33.xml><?xml version="1.0" encoding="utf-8"?>
<ds:datastoreItem xmlns:ds="http://schemas.openxmlformats.org/officeDocument/2006/customXml" ds:itemID="{97A87BB7-AA40-43CF-98FD-9A0980F04AD8}">
  <ds:schemaRefs>
    <ds:schemaRef ds:uri="http://schemas.microsoft.com/sharepoint/v3/contenttype/forms"/>
  </ds:schemaRefs>
</ds:datastoreItem>
</file>

<file path=customXml/itemProps1134.xml><?xml version="1.0" encoding="utf-8"?>
<ds:datastoreItem xmlns:ds="http://schemas.openxmlformats.org/officeDocument/2006/customXml" ds:itemID="{46168362-74F6-4DD7-AC14-7661BD1ECC4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35.xml><?xml version="1.0" encoding="utf-8"?>
<ds:datastoreItem xmlns:ds="http://schemas.openxmlformats.org/officeDocument/2006/customXml" ds:itemID="{5C186BD2-BC07-443F-AD05-B61A38579ED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36.xml><?xml version="1.0" encoding="utf-8"?>
<ds:datastoreItem xmlns:ds="http://schemas.openxmlformats.org/officeDocument/2006/customXml" ds:itemID="{9BA6C104-DEEB-4EA0-9E7C-DC14B1EE3C7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37.xml><?xml version="1.0" encoding="utf-8"?>
<ds:datastoreItem xmlns:ds="http://schemas.openxmlformats.org/officeDocument/2006/customXml" ds:itemID="{FF343EDD-917F-49EF-AB3B-6DD9CA12B64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38.xml><?xml version="1.0" encoding="utf-8"?>
<ds:datastoreItem xmlns:ds="http://schemas.openxmlformats.org/officeDocument/2006/customXml" ds:itemID="{F8615F13-6EF3-4F06-B79B-335228F7F03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39.xml><?xml version="1.0" encoding="utf-8"?>
<ds:datastoreItem xmlns:ds="http://schemas.openxmlformats.org/officeDocument/2006/customXml" ds:itemID="{FC43E7A2-0CFC-4DAB-BA73-946D8A53C0D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4.xml><?xml version="1.0" encoding="utf-8"?>
<ds:datastoreItem xmlns:ds="http://schemas.openxmlformats.org/officeDocument/2006/customXml" ds:itemID="{97045C54-0023-4925-A1BA-A63B35F84E9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40.xml><?xml version="1.0" encoding="utf-8"?>
<ds:datastoreItem xmlns:ds="http://schemas.openxmlformats.org/officeDocument/2006/customXml" ds:itemID="{3D7A05FA-AD57-4CBC-8961-377AA2B4BDE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41.xml><?xml version="1.0" encoding="utf-8"?>
<ds:datastoreItem xmlns:ds="http://schemas.openxmlformats.org/officeDocument/2006/customXml" ds:itemID="{9140926F-08E3-45E9-A4C4-F695994AE3BE}">
  <ds:schemaRefs>
    <ds:schemaRef ds:uri="http://schemas.microsoft.com/sharepoint/v3/contenttype/forms"/>
  </ds:schemaRefs>
</ds:datastoreItem>
</file>

<file path=customXml/itemProps1142.xml><?xml version="1.0" encoding="utf-8"?>
<ds:datastoreItem xmlns:ds="http://schemas.openxmlformats.org/officeDocument/2006/customXml" ds:itemID="{6B92B457-E268-4A86-8608-91C56DF497B6}">
  <ds:schemaRefs>
    <ds:schemaRef ds:uri="http://schemas.microsoft.com/sharepoint/v3/contenttype/forms"/>
  </ds:schemaRefs>
</ds:datastoreItem>
</file>

<file path=customXml/itemProps1143.xml><?xml version="1.0" encoding="utf-8"?>
<ds:datastoreItem xmlns:ds="http://schemas.openxmlformats.org/officeDocument/2006/customXml" ds:itemID="{35BAC1C3-267E-4C03-B1BB-9A78A18B8A96}">
  <ds:schemaRefs>
    <ds:schemaRef ds:uri="http://schemas.microsoft.com/sharepoint/v3/contenttype/forms"/>
  </ds:schemaRefs>
</ds:datastoreItem>
</file>

<file path=customXml/itemProps1144.xml><?xml version="1.0" encoding="utf-8"?>
<ds:datastoreItem xmlns:ds="http://schemas.openxmlformats.org/officeDocument/2006/customXml" ds:itemID="{27958381-9828-4D86-AC87-D3E704F63B4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45.xml><?xml version="1.0" encoding="utf-8"?>
<ds:datastoreItem xmlns:ds="http://schemas.openxmlformats.org/officeDocument/2006/customXml" ds:itemID="{8A9B4FBC-E734-48E2-85A4-5F188BB1A74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46.xml><?xml version="1.0" encoding="utf-8"?>
<ds:datastoreItem xmlns:ds="http://schemas.openxmlformats.org/officeDocument/2006/customXml" ds:itemID="{E5B332C3-0ABA-4161-83A6-399769771F7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47.xml><?xml version="1.0" encoding="utf-8"?>
<ds:datastoreItem xmlns:ds="http://schemas.openxmlformats.org/officeDocument/2006/customXml" ds:itemID="{A1AD9905-225E-43F8-8C10-6CE5E0237D5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48.xml><?xml version="1.0" encoding="utf-8"?>
<ds:datastoreItem xmlns:ds="http://schemas.openxmlformats.org/officeDocument/2006/customXml" ds:itemID="{21DF675F-EB79-482D-BB78-56426404CAF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49.xml><?xml version="1.0" encoding="utf-8"?>
<ds:datastoreItem xmlns:ds="http://schemas.openxmlformats.org/officeDocument/2006/customXml" ds:itemID="{07EBA9EE-2A63-4086-8CE0-0259F26B85A5}">
  <ds:schemaRefs>
    <ds:schemaRef ds:uri="http://schemas.microsoft.com/sharepoint/v3/contenttype/forms"/>
  </ds:schemaRefs>
</ds:datastoreItem>
</file>

<file path=customXml/itemProps115.xml><?xml version="1.0" encoding="utf-8"?>
<ds:datastoreItem xmlns:ds="http://schemas.openxmlformats.org/officeDocument/2006/customXml" ds:itemID="{637567DF-2A2E-4B08-9C91-2C20CA947842}">
  <ds:schemaRefs>
    <ds:schemaRef ds:uri="http://schemas.microsoft.com/sharepoint/v3/contenttype/forms"/>
  </ds:schemaRefs>
</ds:datastoreItem>
</file>

<file path=customXml/itemProps1150.xml><?xml version="1.0" encoding="utf-8"?>
<ds:datastoreItem xmlns:ds="http://schemas.openxmlformats.org/officeDocument/2006/customXml" ds:itemID="{B5D70E62-6B3A-4B30-B18C-26A9D8FC562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51.xml><?xml version="1.0" encoding="utf-8"?>
<ds:datastoreItem xmlns:ds="http://schemas.openxmlformats.org/officeDocument/2006/customXml" ds:itemID="{7812C6DE-725E-490D-AAA6-BB6F38C9333E}">
  <ds:schemaRefs>
    <ds:schemaRef ds:uri="http://schemas.microsoft.com/sharepoint/v3/contenttype/forms"/>
  </ds:schemaRefs>
</ds:datastoreItem>
</file>

<file path=customXml/itemProps1152.xml><?xml version="1.0" encoding="utf-8"?>
<ds:datastoreItem xmlns:ds="http://schemas.openxmlformats.org/officeDocument/2006/customXml" ds:itemID="{BF5FD332-D41B-41AD-832F-308D91FB67C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53.xml><?xml version="1.0" encoding="utf-8"?>
<ds:datastoreItem xmlns:ds="http://schemas.openxmlformats.org/officeDocument/2006/customXml" ds:itemID="{839ED6A2-601E-43ED-B963-4B0D4D0588C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54.xml><?xml version="1.0" encoding="utf-8"?>
<ds:datastoreItem xmlns:ds="http://schemas.openxmlformats.org/officeDocument/2006/customXml" ds:itemID="{D90343E6-3D93-4193-8DA3-2C7D55B31F4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55.xml><?xml version="1.0" encoding="utf-8"?>
<ds:datastoreItem xmlns:ds="http://schemas.openxmlformats.org/officeDocument/2006/customXml" ds:itemID="{046694A3-63E6-413E-AF67-6E991974D6D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56.xml><?xml version="1.0" encoding="utf-8"?>
<ds:datastoreItem xmlns:ds="http://schemas.openxmlformats.org/officeDocument/2006/customXml" ds:itemID="{97602522-23B5-484A-BD6C-97C74960190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57.xml><?xml version="1.0" encoding="utf-8"?>
<ds:datastoreItem xmlns:ds="http://schemas.openxmlformats.org/officeDocument/2006/customXml" ds:itemID="{DD90BEB4-4869-41B3-A438-032B71C675ED}">
  <ds:schemaRefs>
    <ds:schemaRef ds:uri="http://schemas.microsoft.com/sharepoint/v3/contenttype/forms"/>
  </ds:schemaRefs>
</ds:datastoreItem>
</file>

<file path=customXml/itemProps1158.xml><?xml version="1.0" encoding="utf-8"?>
<ds:datastoreItem xmlns:ds="http://schemas.openxmlformats.org/officeDocument/2006/customXml" ds:itemID="{A1FD4F58-97CC-4DBE-AEB6-400C415569B0}">
  <ds:schemaRefs>
    <ds:schemaRef ds:uri="http://schemas.microsoft.com/sharepoint/v3/contenttype/forms"/>
  </ds:schemaRefs>
</ds:datastoreItem>
</file>

<file path=customXml/itemProps1159.xml><?xml version="1.0" encoding="utf-8"?>
<ds:datastoreItem xmlns:ds="http://schemas.openxmlformats.org/officeDocument/2006/customXml" ds:itemID="{6C985FAA-4C13-4842-A19F-50AACD630873}">
  <ds:schemaRefs>
    <ds:schemaRef ds:uri="http://schemas.microsoft.com/sharepoint/v3/contenttype/forms"/>
  </ds:schemaRefs>
</ds:datastoreItem>
</file>

<file path=customXml/itemProps116.xml><?xml version="1.0" encoding="utf-8"?>
<ds:datastoreItem xmlns:ds="http://schemas.openxmlformats.org/officeDocument/2006/customXml" ds:itemID="{D59042A2-84F9-4749-A314-E29FB85A3828}">
  <ds:schemaRefs>
    <ds:schemaRef ds:uri="http://schemas.microsoft.com/sharepoint/v3/contenttype/forms"/>
  </ds:schemaRefs>
</ds:datastoreItem>
</file>

<file path=customXml/itemProps1160.xml><?xml version="1.0" encoding="utf-8"?>
<ds:datastoreItem xmlns:ds="http://schemas.openxmlformats.org/officeDocument/2006/customXml" ds:itemID="{EBDD653A-777F-4D10-84A9-A16062B4CCB3}">
  <ds:schemaRefs>
    <ds:schemaRef ds:uri="http://schemas.microsoft.com/sharepoint/v3/contenttype/forms"/>
  </ds:schemaRefs>
</ds:datastoreItem>
</file>

<file path=customXml/itemProps1161.xml><?xml version="1.0" encoding="utf-8"?>
<ds:datastoreItem xmlns:ds="http://schemas.openxmlformats.org/officeDocument/2006/customXml" ds:itemID="{05FDB6A0-3907-41FA-8A36-69E07F9DFE3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62.xml><?xml version="1.0" encoding="utf-8"?>
<ds:datastoreItem xmlns:ds="http://schemas.openxmlformats.org/officeDocument/2006/customXml" ds:itemID="{815EEEC2-8C32-401D-ACE1-E60DDE4B951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63.xml><?xml version="1.0" encoding="utf-8"?>
<ds:datastoreItem xmlns:ds="http://schemas.openxmlformats.org/officeDocument/2006/customXml" ds:itemID="{9D2D1276-3460-4E19-A1BC-C98D3C654AC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64.xml><?xml version="1.0" encoding="utf-8"?>
<ds:datastoreItem xmlns:ds="http://schemas.openxmlformats.org/officeDocument/2006/customXml" ds:itemID="{7B8BE1F6-8123-4272-B7D3-4C0E94AA4B44}">
  <ds:schemaRefs>
    <ds:schemaRef ds:uri="http://schemas.microsoft.com/sharepoint/v3/contenttype/forms"/>
  </ds:schemaRefs>
</ds:datastoreItem>
</file>

<file path=customXml/itemProps1165.xml><?xml version="1.0" encoding="utf-8"?>
<ds:datastoreItem xmlns:ds="http://schemas.openxmlformats.org/officeDocument/2006/customXml" ds:itemID="{8E188042-8AA0-4933-9A77-96532BC149F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66.xml><?xml version="1.0" encoding="utf-8"?>
<ds:datastoreItem xmlns:ds="http://schemas.openxmlformats.org/officeDocument/2006/customXml" ds:itemID="{FFBB7831-DFD1-4A3F-8C75-3E5090CC116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67.xml><?xml version="1.0" encoding="utf-8"?>
<ds:datastoreItem xmlns:ds="http://schemas.openxmlformats.org/officeDocument/2006/customXml" ds:itemID="{F8D895DD-85AB-45B5-8826-586B3316B6A5}">
  <ds:schemaRefs>
    <ds:schemaRef ds:uri="http://schemas.microsoft.com/sharepoint/v3/contenttype/forms"/>
  </ds:schemaRefs>
</ds:datastoreItem>
</file>

<file path=customXml/itemProps1168.xml><?xml version="1.0" encoding="utf-8"?>
<ds:datastoreItem xmlns:ds="http://schemas.openxmlformats.org/officeDocument/2006/customXml" ds:itemID="{6A5C885E-C085-4520-AC11-6EF84DE230C0}">
  <ds:schemaRefs>
    <ds:schemaRef ds:uri="a5df8268-3b34-4463-a895-3ec8cfc42bd5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a65d7cdc-7643-4b47-b7ee-f2c9d8fd8459"/>
    <ds:schemaRef ds:uri="http://purl.org/dc/dcmitype/"/>
  </ds:schemaRefs>
</ds:datastoreItem>
</file>

<file path=customXml/itemProps1169.xml><?xml version="1.0" encoding="utf-8"?>
<ds:datastoreItem xmlns:ds="http://schemas.openxmlformats.org/officeDocument/2006/customXml" ds:itemID="{B7ED8AC3-5D6E-457C-BEB9-A6F3625FE805}">
  <ds:schemaRefs>
    <ds:schemaRef ds:uri="http://schemas.microsoft.com/sharepoint/v3/contenttype/forms"/>
  </ds:schemaRefs>
</ds:datastoreItem>
</file>

<file path=customXml/itemProps117.xml><?xml version="1.0" encoding="utf-8"?>
<ds:datastoreItem xmlns:ds="http://schemas.openxmlformats.org/officeDocument/2006/customXml" ds:itemID="{A9CED7DC-BD22-4019-9220-A227339645D5}">
  <ds:schemaRefs>
    <ds:schemaRef ds:uri="http://schemas.microsoft.com/sharepoint/v3/contenttype/forms"/>
  </ds:schemaRefs>
</ds:datastoreItem>
</file>

<file path=customXml/itemProps1170.xml><?xml version="1.0" encoding="utf-8"?>
<ds:datastoreItem xmlns:ds="http://schemas.openxmlformats.org/officeDocument/2006/customXml" ds:itemID="{458AAF3F-0BDA-4479-B899-50727EDD19A9}">
  <ds:schemaRefs>
    <ds:schemaRef ds:uri="http://schemas.microsoft.com/sharepoint/v3/contenttype/forms"/>
  </ds:schemaRefs>
</ds:datastoreItem>
</file>

<file path=customXml/itemProps1171.xml><?xml version="1.0" encoding="utf-8"?>
<ds:datastoreItem xmlns:ds="http://schemas.openxmlformats.org/officeDocument/2006/customXml" ds:itemID="{9791667F-3BD6-4744-99D5-B4E21121EC3B}">
  <ds:schemaRefs>
    <ds:schemaRef ds:uri="http://schemas.microsoft.com/sharepoint/v3/contenttype/forms"/>
  </ds:schemaRefs>
</ds:datastoreItem>
</file>

<file path=customXml/itemProps1172.xml><?xml version="1.0" encoding="utf-8"?>
<ds:datastoreItem xmlns:ds="http://schemas.openxmlformats.org/officeDocument/2006/customXml" ds:itemID="{6123B259-66D1-4059-901A-8F904A3625A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73.xml><?xml version="1.0" encoding="utf-8"?>
<ds:datastoreItem xmlns:ds="http://schemas.openxmlformats.org/officeDocument/2006/customXml" ds:itemID="{420F7113-8A43-4945-A331-D268962A5788}">
  <ds:schemaRefs>
    <ds:schemaRef ds:uri="http://schemas.microsoft.com/sharepoint/v3/contenttype/forms"/>
  </ds:schemaRefs>
</ds:datastoreItem>
</file>

<file path=customXml/itemProps1174.xml><?xml version="1.0" encoding="utf-8"?>
<ds:datastoreItem xmlns:ds="http://schemas.openxmlformats.org/officeDocument/2006/customXml" ds:itemID="{6448275B-ADF4-4FBA-9671-10DF226D734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75.xml><?xml version="1.0" encoding="utf-8"?>
<ds:datastoreItem xmlns:ds="http://schemas.openxmlformats.org/officeDocument/2006/customXml" ds:itemID="{BF7F5C99-BE2C-41D7-B928-9A33BB0D4974}">
  <ds:schemaRefs>
    <ds:schemaRef ds:uri="http://schemas.microsoft.com/sharepoint/v3/contenttype/forms"/>
  </ds:schemaRefs>
</ds:datastoreItem>
</file>

<file path=customXml/itemProps1176.xml><?xml version="1.0" encoding="utf-8"?>
<ds:datastoreItem xmlns:ds="http://schemas.openxmlformats.org/officeDocument/2006/customXml" ds:itemID="{B9DDFE68-2EAF-4FDD-92F0-1DC55EEDDBB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77.xml><?xml version="1.0" encoding="utf-8"?>
<ds:datastoreItem xmlns:ds="http://schemas.openxmlformats.org/officeDocument/2006/customXml" ds:itemID="{1B83E2EF-A215-4607-A4A3-2C7A87CC2B9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78.xml><?xml version="1.0" encoding="utf-8"?>
<ds:datastoreItem xmlns:ds="http://schemas.openxmlformats.org/officeDocument/2006/customXml" ds:itemID="{ED1520F6-2303-411D-96ED-E8098B09CCE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79.xml><?xml version="1.0" encoding="utf-8"?>
<ds:datastoreItem xmlns:ds="http://schemas.openxmlformats.org/officeDocument/2006/customXml" ds:itemID="{380912A3-5B27-4977-A824-F6F19E24507A}">
  <ds:schemaRefs>
    <ds:schemaRef ds:uri="http://schemas.microsoft.com/sharepoint/v3/contenttype/forms"/>
  </ds:schemaRefs>
</ds:datastoreItem>
</file>

<file path=customXml/itemProps118.xml><?xml version="1.0" encoding="utf-8"?>
<ds:datastoreItem xmlns:ds="http://schemas.openxmlformats.org/officeDocument/2006/customXml" ds:itemID="{13FDBF34-34A3-40FB-B542-21CC08F6E4E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80.xml><?xml version="1.0" encoding="utf-8"?>
<ds:datastoreItem xmlns:ds="http://schemas.openxmlformats.org/officeDocument/2006/customXml" ds:itemID="{14F600C2-FE6A-43FF-86B5-893B4961925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81.xml><?xml version="1.0" encoding="utf-8"?>
<ds:datastoreItem xmlns:ds="http://schemas.openxmlformats.org/officeDocument/2006/customXml" ds:itemID="{7506DFDC-0DED-4A33-AECF-D9B482F6603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82.xml><?xml version="1.0" encoding="utf-8"?>
<ds:datastoreItem xmlns:ds="http://schemas.openxmlformats.org/officeDocument/2006/customXml" ds:itemID="{CDA9572E-B108-4BC4-BA9E-77DFBE48B51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83.xml><?xml version="1.0" encoding="utf-8"?>
<ds:datastoreItem xmlns:ds="http://schemas.openxmlformats.org/officeDocument/2006/customXml" ds:itemID="{D1320F50-8207-4810-B625-83B0874623B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84.xml><?xml version="1.0" encoding="utf-8"?>
<ds:datastoreItem xmlns:ds="http://schemas.openxmlformats.org/officeDocument/2006/customXml" ds:itemID="{9696B571-8C0F-4B06-81CE-917BF4542AEA}">
  <ds:schemaRefs>
    <ds:schemaRef ds:uri="http://schemas.microsoft.com/sharepoint/v3/contenttype/forms"/>
  </ds:schemaRefs>
</ds:datastoreItem>
</file>

<file path=customXml/itemProps1185.xml><?xml version="1.0" encoding="utf-8"?>
<ds:datastoreItem xmlns:ds="http://schemas.openxmlformats.org/officeDocument/2006/customXml" ds:itemID="{0F657A5F-CD54-4305-A91A-8484C301104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86.xml><?xml version="1.0" encoding="utf-8"?>
<ds:datastoreItem xmlns:ds="http://schemas.openxmlformats.org/officeDocument/2006/customXml" ds:itemID="{1211FCBE-57A5-425D-9950-8F8A4F150DB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87.xml><?xml version="1.0" encoding="utf-8"?>
<ds:datastoreItem xmlns:ds="http://schemas.openxmlformats.org/officeDocument/2006/customXml" ds:itemID="{CB011E62-0090-49D4-A0CD-2C827194429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88.xml><?xml version="1.0" encoding="utf-8"?>
<ds:datastoreItem xmlns:ds="http://schemas.openxmlformats.org/officeDocument/2006/customXml" ds:itemID="{2E2F9528-CC6B-4AEA-9B99-71AB52DBA98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189.xml><?xml version="1.0" encoding="utf-8"?>
<ds:datastoreItem xmlns:ds="http://schemas.openxmlformats.org/officeDocument/2006/customXml" ds:itemID="{628F352A-0518-4F19-9721-F004685BE02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9.xml><?xml version="1.0" encoding="utf-8"?>
<ds:datastoreItem xmlns:ds="http://schemas.openxmlformats.org/officeDocument/2006/customXml" ds:itemID="{E0409E7F-B66B-4C61-876E-076585A17771}">
  <ds:schemaRefs>
    <ds:schemaRef ds:uri="http://schemas.microsoft.com/sharepoint/v3/contenttype/forms"/>
  </ds:schemaRefs>
</ds:datastoreItem>
</file>

<file path=customXml/itemProps1190.xml><?xml version="1.0" encoding="utf-8"?>
<ds:datastoreItem xmlns:ds="http://schemas.openxmlformats.org/officeDocument/2006/customXml" ds:itemID="{542E107E-4DCA-430E-9BC8-7BFCD663BFC9}">
  <ds:schemaRefs>
    <ds:schemaRef ds:uri="http://schemas.microsoft.com/sharepoint/v3/contenttype/forms"/>
  </ds:schemaRefs>
</ds:datastoreItem>
</file>

<file path=customXml/itemProps1191.xml><?xml version="1.0" encoding="utf-8"?>
<ds:datastoreItem xmlns:ds="http://schemas.openxmlformats.org/officeDocument/2006/customXml" ds:itemID="{115EA491-38BD-4726-B1C6-AEB642E142D6}">
  <ds:schemaRefs>
    <ds:schemaRef ds:uri="http://schemas.microsoft.com/sharepoint/v3/contenttype/forms"/>
  </ds:schemaRefs>
</ds:datastoreItem>
</file>

<file path=customXml/itemProps1192.xml><?xml version="1.0" encoding="utf-8"?>
<ds:datastoreItem xmlns:ds="http://schemas.openxmlformats.org/officeDocument/2006/customXml" ds:itemID="{4CDD6ACB-0B85-4662-8881-4DCDC2E321E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93.xml><?xml version="1.0" encoding="utf-8"?>
<ds:datastoreItem xmlns:ds="http://schemas.openxmlformats.org/officeDocument/2006/customXml" ds:itemID="{47476C98-58DD-4B12-A8CA-185DDD01624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94.xml><?xml version="1.0" encoding="utf-8"?>
<ds:datastoreItem xmlns:ds="http://schemas.openxmlformats.org/officeDocument/2006/customXml" ds:itemID="{A5F5719D-C485-43FD-8773-8A4420195D1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95.xml><?xml version="1.0" encoding="utf-8"?>
<ds:datastoreItem xmlns:ds="http://schemas.openxmlformats.org/officeDocument/2006/customXml" ds:itemID="{E236A0F8-B3D7-4132-9DDB-1876361661F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96.xml><?xml version="1.0" encoding="utf-8"?>
<ds:datastoreItem xmlns:ds="http://schemas.openxmlformats.org/officeDocument/2006/customXml" ds:itemID="{B8C94EB1-BE83-4416-9721-79C10BAE59A9}">
  <ds:schemaRefs>
    <ds:schemaRef ds:uri="http://schemas.microsoft.com/sharepoint/v3/contenttype/forms"/>
  </ds:schemaRefs>
</ds:datastoreItem>
</file>

<file path=customXml/itemProps1197.xml><?xml version="1.0" encoding="utf-8"?>
<ds:datastoreItem xmlns:ds="http://schemas.openxmlformats.org/officeDocument/2006/customXml" ds:itemID="{08D274EE-3B08-456E-BD19-D469F381095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98.xml><?xml version="1.0" encoding="utf-8"?>
<ds:datastoreItem xmlns:ds="http://schemas.openxmlformats.org/officeDocument/2006/customXml" ds:itemID="{80A28D0A-FD26-43BA-BF1F-9BB2505E67AE}">
  <ds:schemaRefs>
    <ds:schemaRef ds:uri="http://schemas.microsoft.com/sharepoint/v3/contenttype/forms"/>
  </ds:schemaRefs>
</ds:datastoreItem>
</file>

<file path=customXml/itemProps1199.xml><?xml version="1.0" encoding="utf-8"?>
<ds:datastoreItem xmlns:ds="http://schemas.openxmlformats.org/officeDocument/2006/customXml" ds:itemID="{271695AB-AD0B-46C6-B2FE-FE206A71F1E6}">
  <ds:schemaRefs>
    <ds:schemaRef ds:uri="http://schemas.microsoft.com/sharepoint/v3/contenttype/forms"/>
  </ds:schemaRefs>
</ds:datastoreItem>
</file>

<file path=customXml/itemProps12.xml><?xml version="1.0" encoding="utf-8"?>
<ds:datastoreItem xmlns:ds="http://schemas.openxmlformats.org/officeDocument/2006/customXml" ds:itemID="{4F84960E-CEB5-43C6-B9AA-211A4F2BA7B1}">
  <ds:schemaRefs>
    <ds:schemaRef ds:uri="http://schemas.microsoft.com/sharepoint/v3/contenttype/forms"/>
  </ds:schemaRefs>
</ds:datastoreItem>
</file>

<file path=customXml/itemProps120.xml><?xml version="1.0" encoding="utf-8"?>
<ds:datastoreItem xmlns:ds="http://schemas.openxmlformats.org/officeDocument/2006/customXml" ds:itemID="{2CA9445E-B5DC-434B-AEEA-5FF4A5743B5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200.xml><?xml version="1.0" encoding="utf-8"?>
<ds:datastoreItem xmlns:ds="http://schemas.openxmlformats.org/officeDocument/2006/customXml" ds:itemID="{01278045-AA74-42BA-949B-6CF509016E50}">
  <ds:schemaRefs>
    <ds:schemaRef ds:uri="http://schemas.microsoft.com/sharepoint/v3/contenttype/forms"/>
  </ds:schemaRefs>
</ds:datastoreItem>
</file>

<file path=customXml/itemProps1201.xml><?xml version="1.0" encoding="utf-8"?>
<ds:datastoreItem xmlns:ds="http://schemas.openxmlformats.org/officeDocument/2006/customXml" ds:itemID="{1F48097B-B2E4-47C7-BD78-ADE4C64B5303}">
  <ds:schemaRefs>
    <ds:schemaRef ds:uri="http://www.w3.org/XML/1998/namespace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terms/"/>
    <ds:schemaRef ds:uri="a65d7cdc-7643-4b47-b7ee-f2c9d8fd8459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a5df8268-3b34-4463-a895-3ec8cfc42bd5"/>
  </ds:schemaRefs>
</ds:datastoreItem>
</file>

<file path=customXml/itemProps1202.xml><?xml version="1.0" encoding="utf-8"?>
<ds:datastoreItem xmlns:ds="http://schemas.openxmlformats.org/officeDocument/2006/customXml" ds:itemID="{F0F5875A-7C78-4BCE-A43F-BAFE00B8979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03.xml><?xml version="1.0" encoding="utf-8"?>
<ds:datastoreItem xmlns:ds="http://schemas.openxmlformats.org/officeDocument/2006/customXml" ds:itemID="{BD046282-CB6C-467E-B802-2E6D0E48220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04.xml><?xml version="1.0" encoding="utf-8"?>
<ds:datastoreItem xmlns:ds="http://schemas.openxmlformats.org/officeDocument/2006/customXml" ds:itemID="{02781260-C598-469E-BBEA-32EB8EB9407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205.xml><?xml version="1.0" encoding="utf-8"?>
<ds:datastoreItem xmlns:ds="http://schemas.openxmlformats.org/officeDocument/2006/customXml" ds:itemID="{8C6BC9FD-FC0E-4E8D-B8B9-1B50003650EF}">
  <ds:schemaRefs>
    <ds:schemaRef ds:uri="http://schemas.microsoft.com/sharepoint/v3/contenttype/forms"/>
  </ds:schemaRefs>
</ds:datastoreItem>
</file>

<file path=customXml/itemProps1206.xml><?xml version="1.0" encoding="utf-8"?>
<ds:datastoreItem xmlns:ds="http://schemas.openxmlformats.org/officeDocument/2006/customXml" ds:itemID="{25B96426-A949-453A-B9EF-755417BBFE8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07.xml><?xml version="1.0" encoding="utf-8"?>
<ds:datastoreItem xmlns:ds="http://schemas.openxmlformats.org/officeDocument/2006/customXml" ds:itemID="{22B8F241-F63F-47EF-AACD-1D503BE7545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08.xml><?xml version="1.0" encoding="utf-8"?>
<ds:datastoreItem xmlns:ds="http://schemas.openxmlformats.org/officeDocument/2006/customXml" ds:itemID="{8D5F9BC1-DD4B-4E1F-9C44-836CE6F09DAD}">
  <ds:schemaRefs>
    <ds:schemaRef ds:uri="http://schemas.microsoft.com/sharepoint/v3/contenttype/forms"/>
  </ds:schemaRefs>
</ds:datastoreItem>
</file>

<file path=customXml/itemProps1209.xml><?xml version="1.0" encoding="utf-8"?>
<ds:datastoreItem xmlns:ds="http://schemas.openxmlformats.org/officeDocument/2006/customXml" ds:itemID="{5519CDB2-1ACE-42C0-8AA0-F4088BFCE6A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21.xml><?xml version="1.0" encoding="utf-8"?>
<ds:datastoreItem xmlns:ds="http://schemas.openxmlformats.org/officeDocument/2006/customXml" ds:itemID="{0CEABFED-D21E-4ADA-9BAF-E69F51DDEDAE}">
  <ds:schemaRefs>
    <ds:schemaRef ds:uri="http://schemas.microsoft.com/sharepoint/v3/contenttype/forms"/>
  </ds:schemaRefs>
</ds:datastoreItem>
</file>

<file path=customXml/itemProps1210.xml><?xml version="1.0" encoding="utf-8"?>
<ds:datastoreItem xmlns:ds="http://schemas.openxmlformats.org/officeDocument/2006/customXml" ds:itemID="{7BFF0521-646C-498A-B184-614A2FEF4CC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11.xml><?xml version="1.0" encoding="utf-8"?>
<ds:datastoreItem xmlns:ds="http://schemas.openxmlformats.org/officeDocument/2006/customXml" ds:itemID="{A2FFAF93-8A45-4D6E-8F81-E11C10365193}">
  <ds:schemaRefs>
    <ds:schemaRef ds:uri="http://schemas.microsoft.com/sharepoint/v3/contenttype/forms"/>
  </ds:schemaRefs>
</ds:datastoreItem>
</file>

<file path=customXml/itemProps122.xml><?xml version="1.0" encoding="utf-8"?>
<ds:datastoreItem xmlns:ds="http://schemas.openxmlformats.org/officeDocument/2006/customXml" ds:itemID="{46521198-0FE8-471F-B299-D8CF1C30E3D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23.xml><?xml version="1.0" encoding="utf-8"?>
<ds:datastoreItem xmlns:ds="http://schemas.openxmlformats.org/officeDocument/2006/customXml" ds:itemID="{1BFDD204-BC43-44ED-A3A3-E3DEDA2A5F7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24.xml><?xml version="1.0" encoding="utf-8"?>
<ds:datastoreItem xmlns:ds="http://schemas.openxmlformats.org/officeDocument/2006/customXml" ds:itemID="{55853D85-79DD-4A4A-B56F-450C78EFD467}">
  <ds:schemaRefs>
    <ds:schemaRef ds:uri="http://schemas.microsoft.com/sharepoint/v3/contenttype/forms"/>
  </ds:schemaRefs>
</ds:datastoreItem>
</file>

<file path=customXml/itemProps125.xml><?xml version="1.0" encoding="utf-8"?>
<ds:datastoreItem xmlns:ds="http://schemas.openxmlformats.org/officeDocument/2006/customXml" ds:itemID="{A4F7E88B-D04F-41C8-8265-40E1B88706B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6.xml><?xml version="1.0" encoding="utf-8"?>
<ds:datastoreItem xmlns:ds="http://schemas.openxmlformats.org/officeDocument/2006/customXml" ds:itemID="{0F5A70C3-519E-4AE9-A143-8D1D5529A4E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7.xml><?xml version="1.0" encoding="utf-8"?>
<ds:datastoreItem xmlns:ds="http://schemas.openxmlformats.org/officeDocument/2006/customXml" ds:itemID="{851012DC-5341-4DE7-AB4D-7A33C54A12E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28.xml><?xml version="1.0" encoding="utf-8"?>
<ds:datastoreItem xmlns:ds="http://schemas.openxmlformats.org/officeDocument/2006/customXml" ds:itemID="{7FC75B02-2528-4CDB-9528-FE9675578493}">
  <ds:schemaRefs>
    <ds:schemaRef ds:uri="http://schemas.microsoft.com/sharepoint/v3/contenttype/forms"/>
  </ds:schemaRefs>
</ds:datastoreItem>
</file>

<file path=customXml/itemProps129.xml><?xml version="1.0" encoding="utf-8"?>
<ds:datastoreItem xmlns:ds="http://schemas.openxmlformats.org/officeDocument/2006/customXml" ds:itemID="{9FB3F01A-C03D-44BF-A7EF-E38F7336BBE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3.xml><?xml version="1.0" encoding="utf-8"?>
<ds:datastoreItem xmlns:ds="http://schemas.openxmlformats.org/officeDocument/2006/customXml" ds:itemID="{B3D0F045-16E6-4C40-96C9-F508AC36D6B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0.xml><?xml version="1.0" encoding="utf-8"?>
<ds:datastoreItem xmlns:ds="http://schemas.openxmlformats.org/officeDocument/2006/customXml" ds:itemID="{3C27828F-C024-4AD7-8B54-08B6709C277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1.xml><?xml version="1.0" encoding="utf-8"?>
<ds:datastoreItem xmlns:ds="http://schemas.openxmlformats.org/officeDocument/2006/customXml" ds:itemID="{3B718ECA-5C16-49A3-85B2-F76EC214C45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2.xml><?xml version="1.0" encoding="utf-8"?>
<ds:datastoreItem xmlns:ds="http://schemas.openxmlformats.org/officeDocument/2006/customXml" ds:itemID="{410B42CD-CD88-44AA-9071-2CDC2F81E679}">
  <ds:schemaRefs>
    <ds:schemaRef ds:uri="http://schemas.microsoft.com/sharepoint/v3/contenttype/forms"/>
  </ds:schemaRefs>
</ds:datastoreItem>
</file>

<file path=customXml/itemProps133.xml><?xml version="1.0" encoding="utf-8"?>
<ds:datastoreItem xmlns:ds="http://schemas.openxmlformats.org/officeDocument/2006/customXml" ds:itemID="{1865E58A-79A1-4C9C-A4C0-676BB6B4329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34.xml><?xml version="1.0" encoding="utf-8"?>
<ds:datastoreItem xmlns:ds="http://schemas.openxmlformats.org/officeDocument/2006/customXml" ds:itemID="{FAF4743C-EBF1-4243-BD8B-607A3506AA9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35.xml><?xml version="1.0" encoding="utf-8"?>
<ds:datastoreItem xmlns:ds="http://schemas.openxmlformats.org/officeDocument/2006/customXml" ds:itemID="{7B20A0DB-F55E-48D8-9681-59F41179BFB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36.xml><?xml version="1.0" encoding="utf-8"?>
<ds:datastoreItem xmlns:ds="http://schemas.openxmlformats.org/officeDocument/2006/customXml" ds:itemID="{EC86D340-8058-4BB6-B0EE-6F10163CB8F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37.xml><?xml version="1.0" encoding="utf-8"?>
<ds:datastoreItem xmlns:ds="http://schemas.openxmlformats.org/officeDocument/2006/customXml" ds:itemID="{9FC488A6-B358-446B-BEEE-216FED6271CF}">
  <ds:schemaRefs>
    <ds:schemaRef ds:uri="http://schemas.microsoft.com/sharepoint/v3/contenttype/forms"/>
  </ds:schemaRefs>
</ds:datastoreItem>
</file>

<file path=customXml/itemProps138.xml><?xml version="1.0" encoding="utf-8"?>
<ds:datastoreItem xmlns:ds="http://schemas.openxmlformats.org/officeDocument/2006/customXml" ds:itemID="{561769BA-69E7-44A3-91B9-A3B4B2419F3C}">
  <ds:schemaRefs>
    <ds:schemaRef ds:uri="http://schemas.microsoft.com/sharepoint/v3/contenttype/forms"/>
  </ds:schemaRefs>
</ds:datastoreItem>
</file>

<file path=customXml/itemProps139.xml><?xml version="1.0" encoding="utf-8"?>
<ds:datastoreItem xmlns:ds="http://schemas.openxmlformats.org/officeDocument/2006/customXml" ds:itemID="{B2F6FB63-2D25-4A06-9550-34A17682F60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4.xml><?xml version="1.0" encoding="utf-8"?>
<ds:datastoreItem xmlns:ds="http://schemas.openxmlformats.org/officeDocument/2006/customXml" ds:itemID="{24A20AE5-8034-437A-A826-7EAEC20C1E44}">
  <ds:schemaRefs>
    <ds:schemaRef ds:uri="http://schemas.microsoft.com/sharepoint/v3/contenttype/forms"/>
  </ds:schemaRefs>
</ds:datastoreItem>
</file>

<file path=customXml/itemProps140.xml><?xml version="1.0" encoding="utf-8"?>
<ds:datastoreItem xmlns:ds="http://schemas.openxmlformats.org/officeDocument/2006/customXml" ds:itemID="{87CA9EA9-A16B-4021-9C1E-614B709D0E3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1.xml><?xml version="1.0" encoding="utf-8"?>
<ds:datastoreItem xmlns:ds="http://schemas.openxmlformats.org/officeDocument/2006/customXml" ds:itemID="{D3E900EA-E4DF-4EFA-A93D-A4866589214D}">
  <ds:schemaRefs>
    <ds:schemaRef ds:uri="http://schemas.microsoft.com/sharepoint/v3/contenttype/forms"/>
  </ds:schemaRefs>
</ds:datastoreItem>
</file>

<file path=customXml/itemProps142.xml><?xml version="1.0" encoding="utf-8"?>
<ds:datastoreItem xmlns:ds="http://schemas.openxmlformats.org/officeDocument/2006/customXml" ds:itemID="{1CAB6890-CF22-42E8-BB70-8E9837CAEE5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3.xml><?xml version="1.0" encoding="utf-8"?>
<ds:datastoreItem xmlns:ds="http://schemas.openxmlformats.org/officeDocument/2006/customXml" ds:itemID="{976EF1FA-4D5D-4A86-BE19-0DB9A5BF9E3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4.xml><?xml version="1.0" encoding="utf-8"?>
<ds:datastoreItem xmlns:ds="http://schemas.openxmlformats.org/officeDocument/2006/customXml" ds:itemID="{5A0C47B5-99E6-4FF8-86EF-44838C947C9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45.xml><?xml version="1.0" encoding="utf-8"?>
<ds:datastoreItem xmlns:ds="http://schemas.openxmlformats.org/officeDocument/2006/customXml" ds:itemID="{E76E7D1C-0FE9-4E38-970B-B35B1B477B2F}">
  <ds:schemaRefs>
    <ds:schemaRef ds:uri="http://schemas.microsoft.com/sharepoint/v3/contenttype/forms"/>
  </ds:schemaRefs>
</ds:datastoreItem>
</file>

<file path=customXml/itemProps146.xml><?xml version="1.0" encoding="utf-8"?>
<ds:datastoreItem xmlns:ds="http://schemas.openxmlformats.org/officeDocument/2006/customXml" ds:itemID="{85A6429F-A667-470C-8425-CC3EA32C54FB}">
  <ds:schemaRefs>
    <ds:schemaRef ds:uri="http://schemas.microsoft.com/sharepoint/v3/contenttype/forms"/>
  </ds:schemaRefs>
</ds:datastoreItem>
</file>

<file path=customXml/itemProps147.xml><?xml version="1.0" encoding="utf-8"?>
<ds:datastoreItem xmlns:ds="http://schemas.openxmlformats.org/officeDocument/2006/customXml" ds:itemID="{F81ECB76-6560-481B-91F0-25011842B49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8.xml><?xml version="1.0" encoding="utf-8"?>
<ds:datastoreItem xmlns:ds="http://schemas.openxmlformats.org/officeDocument/2006/customXml" ds:itemID="{CF5266AE-1712-42C5-B7BD-CC5EFADA9181}">
  <ds:schemaRefs>
    <ds:schemaRef ds:uri="http://schemas.microsoft.com/sharepoint/v3/contenttype/forms"/>
  </ds:schemaRefs>
</ds:datastoreItem>
</file>

<file path=customXml/itemProps149.xml><?xml version="1.0" encoding="utf-8"?>
<ds:datastoreItem xmlns:ds="http://schemas.openxmlformats.org/officeDocument/2006/customXml" ds:itemID="{FB7C27DF-9B1E-4DE3-9FFC-0B2E29C3021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5.xml><?xml version="1.0" encoding="utf-8"?>
<ds:datastoreItem xmlns:ds="http://schemas.openxmlformats.org/officeDocument/2006/customXml" ds:itemID="{D1F977C2-2820-4504-A9BF-D5DE333CCD66}">
  <ds:schemaRefs>
    <ds:schemaRef ds:uri="http://schemas.microsoft.com/sharepoint/v3/contenttype/forms"/>
  </ds:schemaRefs>
</ds:datastoreItem>
</file>

<file path=customXml/itemProps150.xml><?xml version="1.0" encoding="utf-8"?>
<ds:datastoreItem xmlns:ds="http://schemas.openxmlformats.org/officeDocument/2006/customXml" ds:itemID="{AE2C06AD-B1F8-41F4-8AED-236EDF7B42E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1.xml><?xml version="1.0" encoding="utf-8"?>
<ds:datastoreItem xmlns:ds="http://schemas.openxmlformats.org/officeDocument/2006/customXml" ds:itemID="{3340F945-CAE2-4E5C-8353-59FA7073F2CD}">
  <ds:schemaRefs>
    <ds:schemaRef ds:uri="http://schemas.microsoft.com/sharepoint/v3/contenttype/forms"/>
  </ds:schemaRefs>
</ds:datastoreItem>
</file>

<file path=customXml/itemProps152.xml><?xml version="1.0" encoding="utf-8"?>
<ds:datastoreItem xmlns:ds="http://schemas.openxmlformats.org/officeDocument/2006/customXml" ds:itemID="{7DD25884-469E-4E9C-A808-B07364AE70F8}">
  <ds:schemaRefs>
    <ds:schemaRef ds:uri="http://schemas.microsoft.com/sharepoint/v3/contenttype/forms"/>
  </ds:schemaRefs>
</ds:datastoreItem>
</file>

<file path=customXml/itemProps153.xml><?xml version="1.0" encoding="utf-8"?>
<ds:datastoreItem xmlns:ds="http://schemas.openxmlformats.org/officeDocument/2006/customXml" ds:itemID="{D1590000-CB74-424F-8161-472E70D68A4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54.xml><?xml version="1.0" encoding="utf-8"?>
<ds:datastoreItem xmlns:ds="http://schemas.openxmlformats.org/officeDocument/2006/customXml" ds:itemID="{E8DD5734-043E-4BD3-BB78-ED4F3A1B0802}">
  <ds:schemaRefs>
    <ds:schemaRef ds:uri="http://schemas.microsoft.com/sharepoint/v3/contenttype/forms"/>
  </ds:schemaRefs>
</ds:datastoreItem>
</file>

<file path=customXml/itemProps155.xml><?xml version="1.0" encoding="utf-8"?>
<ds:datastoreItem xmlns:ds="http://schemas.openxmlformats.org/officeDocument/2006/customXml" ds:itemID="{22F75CDF-D089-4046-8D66-9EF7CF59BE5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56.xml><?xml version="1.0" encoding="utf-8"?>
<ds:datastoreItem xmlns:ds="http://schemas.openxmlformats.org/officeDocument/2006/customXml" ds:itemID="{3FD97082-32E2-493E-8772-2DA126CEF81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57.xml><?xml version="1.0" encoding="utf-8"?>
<ds:datastoreItem xmlns:ds="http://schemas.openxmlformats.org/officeDocument/2006/customXml" ds:itemID="{233669B5-E899-40E7-A4A3-BE1A2C18736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8.xml><?xml version="1.0" encoding="utf-8"?>
<ds:datastoreItem xmlns:ds="http://schemas.openxmlformats.org/officeDocument/2006/customXml" ds:itemID="{531B7F95-7607-40E8-9705-20DEFB91A94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9.xml><?xml version="1.0" encoding="utf-8"?>
<ds:datastoreItem xmlns:ds="http://schemas.openxmlformats.org/officeDocument/2006/customXml" ds:itemID="{6A1419EC-86F1-492E-9E6E-971E85138471}">
  <ds:schemaRefs>
    <ds:schemaRef ds:uri="http://schemas.microsoft.com/sharepoint/v3/contenttype/forms"/>
  </ds:schemaRefs>
</ds:datastoreItem>
</file>

<file path=customXml/itemProps16.xml><?xml version="1.0" encoding="utf-8"?>
<ds:datastoreItem xmlns:ds="http://schemas.openxmlformats.org/officeDocument/2006/customXml" ds:itemID="{9A495895-0FD7-4D50-83FE-C9936304AAD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60.xml><?xml version="1.0" encoding="utf-8"?>
<ds:datastoreItem xmlns:ds="http://schemas.openxmlformats.org/officeDocument/2006/customXml" ds:itemID="{1A60FA10-DCF1-497F-A9C1-9C49392EA29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61.xml><?xml version="1.0" encoding="utf-8"?>
<ds:datastoreItem xmlns:ds="http://schemas.openxmlformats.org/officeDocument/2006/customXml" ds:itemID="{61C60AE8-4A8C-4F1F-A82A-A4336BC1D59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62.xml><?xml version="1.0" encoding="utf-8"?>
<ds:datastoreItem xmlns:ds="http://schemas.openxmlformats.org/officeDocument/2006/customXml" ds:itemID="{797D24B6-77E8-4C58-B119-65AEF9BADAE7}">
  <ds:schemaRefs>
    <ds:schemaRef ds:uri="http://schemas.microsoft.com/sharepoint/v3/contenttype/forms"/>
  </ds:schemaRefs>
</ds:datastoreItem>
</file>

<file path=customXml/itemProps163.xml><?xml version="1.0" encoding="utf-8"?>
<ds:datastoreItem xmlns:ds="http://schemas.openxmlformats.org/officeDocument/2006/customXml" ds:itemID="{3ADF000A-6DAB-4450-BA3E-896EB6456C82}">
  <ds:schemaRefs>
    <ds:schemaRef ds:uri="http://schemas.microsoft.com/sharepoint/v3/contenttype/forms"/>
  </ds:schemaRefs>
</ds:datastoreItem>
</file>

<file path=customXml/itemProps164.xml><?xml version="1.0" encoding="utf-8"?>
<ds:datastoreItem xmlns:ds="http://schemas.openxmlformats.org/officeDocument/2006/customXml" ds:itemID="{483D5D56-E080-4A62-97F7-471F626ABAA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5.xml><?xml version="1.0" encoding="utf-8"?>
<ds:datastoreItem xmlns:ds="http://schemas.openxmlformats.org/officeDocument/2006/customXml" ds:itemID="{8E732C86-36FF-4E64-9BA9-E4829EA04E0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66.xml><?xml version="1.0" encoding="utf-8"?>
<ds:datastoreItem xmlns:ds="http://schemas.openxmlformats.org/officeDocument/2006/customXml" ds:itemID="{D20EF277-2FC8-48B6-8FB8-5D9FC6909F8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7.xml><?xml version="1.0" encoding="utf-8"?>
<ds:datastoreItem xmlns:ds="http://schemas.openxmlformats.org/officeDocument/2006/customXml" ds:itemID="{24CA0AA9-0A73-4DF1-BD60-B829546014E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8.xml><?xml version="1.0" encoding="utf-8"?>
<ds:datastoreItem xmlns:ds="http://schemas.openxmlformats.org/officeDocument/2006/customXml" ds:itemID="{7D06DD49-0816-4B4D-A14E-DCC2BC9630F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69.xml><?xml version="1.0" encoding="utf-8"?>
<ds:datastoreItem xmlns:ds="http://schemas.openxmlformats.org/officeDocument/2006/customXml" ds:itemID="{6173B9E6-73D8-4AB0-B216-5DD8C0CADA6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7.xml><?xml version="1.0" encoding="utf-8"?>
<ds:datastoreItem xmlns:ds="http://schemas.openxmlformats.org/officeDocument/2006/customXml" ds:itemID="{FC6ED24F-CDF0-450C-A877-EC89DC2A3FE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70.xml><?xml version="1.0" encoding="utf-8"?>
<ds:datastoreItem xmlns:ds="http://schemas.openxmlformats.org/officeDocument/2006/customXml" ds:itemID="{4A004989-2AFF-414F-B9A1-BAC0BDACD77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1.xml><?xml version="1.0" encoding="utf-8"?>
<ds:datastoreItem xmlns:ds="http://schemas.openxmlformats.org/officeDocument/2006/customXml" ds:itemID="{ADB0CC23-C7B1-45EF-8C30-40C37E2D100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2.xml><?xml version="1.0" encoding="utf-8"?>
<ds:datastoreItem xmlns:ds="http://schemas.openxmlformats.org/officeDocument/2006/customXml" ds:itemID="{CA5AF3E8-1974-4F34-AA85-89FB7157B4D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73.xml><?xml version="1.0" encoding="utf-8"?>
<ds:datastoreItem xmlns:ds="http://schemas.openxmlformats.org/officeDocument/2006/customXml" ds:itemID="{00AFE70C-9A57-48E5-960A-E121D7CBC31B}">
  <ds:schemaRefs>
    <ds:schemaRef ds:uri="http://schemas.microsoft.com/sharepoint/v3/contenttype/forms"/>
  </ds:schemaRefs>
</ds:datastoreItem>
</file>

<file path=customXml/itemProps174.xml><?xml version="1.0" encoding="utf-8"?>
<ds:datastoreItem xmlns:ds="http://schemas.openxmlformats.org/officeDocument/2006/customXml" ds:itemID="{ECD67197-C28B-40D0-BD18-E7E0F8A57B6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5.xml><?xml version="1.0" encoding="utf-8"?>
<ds:datastoreItem xmlns:ds="http://schemas.openxmlformats.org/officeDocument/2006/customXml" ds:itemID="{0AD13ADC-D4C6-4ED1-BEA0-32029C7F954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6.xml><?xml version="1.0" encoding="utf-8"?>
<ds:datastoreItem xmlns:ds="http://schemas.openxmlformats.org/officeDocument/2006/customXml" ds:itemID="{02391426-8CEA-4EA6-B7E5-C21EFED6C33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77.xml><?xml version="1.0" encoding="utf-8"?>
<ds:datastoreItem xmlns:ds="http://schemas.openxmlformats.org/officeDocument/2006/customXml" ds:itemID="{276D104B-5575-4F67-AFDF-3F3B1FB72369}">
  <ds:schemaRefs>
    <ds:schemaRef ds:uri="http://schemas.microsoft.com/sharepoint/v3/contenttype/forms"/>
  </ds:schemaRefs>
</ds:datastoreItem>
</file>

<file path=customXml/itemProps178.xml><?xml version="1.0" encoding="utf-8"?>
<ds:datastoreItem xmlns:ds="http://schemas.openxmlformats.org/officeDocument/2006/customXml" ds:itemID="{61C1A1C1-70C8-4439-A9ED-E00F6DDCA241}">
  <ds:schemaRefs>
    <ds:schemaRef ds:uri="http://schemas.microsoft.com/sharepoint/v3/contenttype/forms"/>
  </ds:schemaRefs>
</ds:datastoreItem>
</file>

<file path=customXml/itemProps179.xml><?xml version="1.0" encoding="utf-8"?>
<ds:datastoreItem xmlns:ds="http://schemas.openxmlformats.org/officeDocument/2006/customXml" ds:itemID="{B40233BA-CF9B-4AB5-8FEA-B4A672769F32}">
  <ds:schemaRefs>
    <ds:schemaRef ds:uri="http://schemas.microsoft.com/sharepoint/v3/contenttype/forms"/>
  </ds:schemaRefs>
</ds:datastoreItem>
</file>

<file path=customXml/itemProps18.xml><?xml version="1.0" encoding="utf-8"?>
<ds:datastoreItem xmlns:ds="http://schemas.openxmlformats.org/officeDocument/2006/customXml" ds:itemID="{78369B96-100B-4371-A121-09371D2F3489}">
  <ds:schemaRefs>
    <ds:schemaRef ds:uri="http://schemas.microsoft.com/sharepoint/v3/contenttype/forms"/>
  </ds:schemaRefs>
</ds:datastoreItem>
</file>

<file path=customXml/itemProps180.xml><?xml version="1.0" encoding="utf-8"?>
<ds:datastoreItem xmlns:ds="http://schemas.openxmlformats.org/officeDocument/2006/customXml" ds:itemID="{35DAB76C-91A8-4C88-9374-5B858B2305CF}">
  <ds:schemaRefs>
    <ds:schemaRef ds:uri="http://schemas.microsoft.com/sharepoint/v3/contenttype/forms"/>
  </ds:schemaRefs>
</ds:datastoreItem>
</file>

<file path=customXml/itemProps181.xml><?xml version="1.0" encoding="utf-8"?>
<ds:datastoreItem xmlns:ds="http://schemas.openxmlformats.org/officeDocument/2006/customXml" ds:itemID="{EBC2F36C-4BFB-4503-AB9A-A6D4DE261276}">
  <ds:schemaRefs>
    <ds:schemaRef ds:uri="http://schemas.microsoft.com/sharepoint/v3/contenttype/forms"/>
  </ds:schemaRefs>
</ds:datastoreItem>
</file>

<file path=customXml/itemProps182.xml><?xml version="1.0" encoding="utf-8"?>
<ds:datastoreItem xmlns:ds="http://schemas.openxmlformats.org/officeDocument/2006/customXml" ds:itemID="{DBB4E520-E8CD-4D26-BEE6-FB4BB00CF04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3.xml><?xml version="1.0" encoding="utf-8"?>
<ds:datastoreItem xmlns:ds="http://schemas.openxmlformats.org/officeDocument/2006/customXml" ds:itemID="{1CA9D431-E4DE-4217-84CD-DDD63ED2118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4.xml><?xml version="1.0" encoding="utf-8"?>
<ds:datastoreItem xmlns:ds="http://schemas.openxmlformats.org/officeDocument/2006/customXml" ds:itemID="{7B46E92C-769B-4AB2-9DA3-7303719F4E7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85.xml><?xml version="1.0" encoding="utf-8"?>
<ds:datastoreItem xmlns:ds="http://schemas.openxmlformats.org/officeDocument/2006/customXml" ds:itemID="{A740E685-46B7-457D-A424-8DAB40185FC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6.xml><?xml version="1.0" encoding="utf-8"?>
<ds:datastoreItem xmlns:ds="http://schemas.openxmlformats.org/officeDocument/2006/customXml" ds:itemID="{4AE0AF62-516D-4472-80AA-DDE19ED21AB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7.xml><?xml version="1.0" encoding="utf-8"?>
<ds:datastoreItem xmlns:ds="http://schemas.openxmlformats.org/officeDocument/2006/customXml" ds:itemID="{912B9C14-FC59-4EB2-ADE5-4CDA57035044}">
  <ds:schemaRefs>
    <ds:schemaRef ds:uri="http://schemas.microsoft.com/sharepoint/v3/contenttype/forms"/>
  </ds:schemaRefs>
</ds:datastoreItem>
</file>

<file path=customXml/itemProps188.xml><?xml version="1.0" encoding="utf-8"?>
<ds:datastoreItem xmlns:ds="http://schemas.openxmlformats.org/officeDocument/2006/customXml" ds:itemID="{AF8AC20A-2726-4850-B5B3-650673DAB8C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9.xml><?xml version="1.0" encoding="utf-8"?>
<ds:datastoreItem xmlns:ds="http://schemas.openxmlformats.org/officeDocument/2006/customXml" ds:itemID="{FF4DD932-2734-424D-A9F2-6CF870591478}">
  <ds:schemaRefs>
    <ds:schemaRef ds:uri="http://schemas.microsoft.com/sharepoint/v3/contenttype/forms"/>
  </ds:schemaRefs>
</ds:datastoreItem>
</file>

<file path=customXml/itemProps19.xml><?xml version="1.0" encoding="utf-8"?>
<ds:datastoreItem xmlns:ds="http://schemas.openxmlformats.org/officeDocument/2006/customXml" ds:itemID="{1B1A90A8-5710-4A53-824B-2CAB090DB5E7}">
  <ds:schemaRefs>
    <ds:schemaRef ds:uri="http://schemas.microsoft.com/sharepoint/v3/contenttype/forms"/>
  </ds:schemaRefs>
</ds:datastoreItem>
</file>

<file path=customXml/itemProps190.xml><?xml version="1.0" encoding="utf-8"?>
<ds:datastoreItem xmlns:ds="http://schemas.openxmlformats.org/officeDocument/2006/customXml" ds:itemID="{78A1A9BF-D9F6-452C-ABB4-82FFE7255E6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91.xml><?xml version="1.0" encoding="utf-8"?>
<ds:datastoreItem xmlns:ds="http://schemas.openxmlformats.org/officeDocument/2006/customXml" ds:itemID="{0802B363-D32E-4979-8C4E-657BD2C6756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2.xml><?xml version="1.0" encoding="utf-8"?>
<ds:datastoreItem xmlns:ds="http://schemas.openxmlformats.org/officeDocument/2006/customXml" ds:itemID="{4AFA318B-05DD-4607-AC08-63B12339EBF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3.xml><?xml version="1.0" encoding="utf-8"?>
<ds:datastoreItem xmlns:ds="http://schemas.openxmlformats.org/officeDocument/2006/customXml" ds:itemID="{F73F142D-35F5-4AF8-B3C2-FBC44084D61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94.xml><?xml version="1.0" encoding="utf-8"?>
<ds:datastoreItem xmlns:ds="http://schemas.openxmlformats.org/officeDocument/2006/customXml" ds:itemID="{ABD5D46C-04EB-4733-97B7-E37B9F78A30A}">
  <ds:schemaRefs>
    <ds:schemaRef ds:uri="http://schemas.microsoft.com/sharepoint/v3/contenttype/forms"/>
  </ds:schemaRefs>
</ds:datastoreItem>
</file>

<file path=customXml/itemProps195.xml><?xml version="1.0" encoding="utf-8"?>
<ds:datastoreItem xmlns:ds="http://schemas.openxmlformats.org/officeDocument/2006/customXml" ds:itemID="{9D3D4C9E-C2E7-4527-8F16-42F47968117A}">
  <ds:schemaRefs>
    <ds:schemaRef ds:uri="http://schemas.microsoft.com/sharepoint/v3/contenttype/forms"/>
  </ds:schemaRefs>
</ds:datastoreItem>
</file>

<file path=customXml/itemProps196.xml><?xml version="1.0" encoding="utf-8"?>
<ds:datastoreItem xmlns:ds="http://schemas.openxmlformats.org/officeDocument/2006/customXml" ds:itemID="{58C12147-3D2F-4A55-B0F3-C8BA11BB08C1}">
  <ds:schemaRefs>
    <ds:schemaRef ds:uri="http://schemas.microsoft.com/sharepoint/v3/contenttype/forms"/>
  </ds:schemaRefs>
</ds:datastoreItem>
</file>

<file path=customXml/itemProps197.xml><?xml version="1.0" encoding="utf-8"?>
<ds:datastoreItem xmlns:ds="http://schemas.openxmlformats.org/officeDocument/2006/customXml" ds:itemID="{58BD1F12-F55C-4715-822F-956B98B264F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8.xml><?xml version="1.0" encoding="utf-8"?>
<ds:datastoreItem xmlns:ds="http://schemas.openxmlformats.org/officeDocument/2006/customXml" ds:itemID="{C7E3D2FF-A50D-4BC1-AE3A-BB33526B45C7}">
  <ds:schemaRefs>
    <ds:schemaRef ds:uri="http://schemas.microsoft.com/sharepoint/v3/contenttype/forms"/>
  </ds:schemaRefs>
</ds:datastoreItem>
</file>

<file path=customXml/itemProps199.xml><?xml version="1.0" encoding="utf-8"?>
<ds:datastoreItem xmlns:ds="http://schemas.openxmlformats.org/officeDocument/2006/customXml" ds:itemID="{DD07D1D3-81D1-47DB-8F1E-5888279AC7E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A6BEC64-69BD-42C5-A03F-ACBF30D361C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0.xml><?xml version="1.0" encoding="utf-8"?>
<ds:datastoreItem xmlns:ds="http://schemas.openxmlformats.org/officeDocument/2006/customXml" ds:itemID="{C5281ED8-0FB6-4849-BEE6-5D8F46F23A8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0.xml><?xml version="1.0" encoding="utf-8"?>
<ds:datastoreItem xmlns:ds="http://schemas.openxmlformats.org/officeDocument/2006/customXml" ds:itemID="{5D24F951-BF04-4B65-A508-F3275A8860C0}">
  <ds:schemaRefs>
    <ds:schemaRef ds:uri="http://schemas.microsoft.com/sharepoint/v3/contenttype/forms"/>
  </ds:schemaRefs>
</ds:datastoreItem>
</file>

<file path=customXml/itemProps201.xml><?xml version="1.0" encoding="utf-8"?>
<ds:datastoreItem xmlns:ds="http://schemas.openxmlformats.org/officeDocument/2006/customXml" ds:itemID="{1031DD48-0FE9-4152-B4EF-0CD6E9B4451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02.xml><?xml version="1.0" encoding="utf-8"?>
<ds:datastoreItem xmlns:ds="http://schemas.openxmlformats.org/officeDocument/2006/customXml" ds:itemID="{AEC29621-1C65-4E29-8C74-5D7FA2E0101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3.xml><?xml version="1.0" encoding="utf-8"?>
<ds:datastoreItem xmlns:ds="http://schemas.openxmlformats.org/officeDocument/2006/customXml" ds:itemID="{D1AE2B48-F7C0-4C80-A0C8-4A02C53D285F}">
  <ds:schemaRefs>
    <ds:schemaRef ds:uri="http://schemas.microsoft.com/sharepoint/v3/contenttype/forms"/>
  </ds:schemaRefs>
</ds:datastoreItem>
</file>

<file path=customXml/itemProps204.xml><?xml version="1.0" encoding="utf-8"?>
<ds:datastoreItem xmlns:ds="http://schemas.openxmlformats.org/officeDocument/2006/customXml" ds:itemID="{91351A93-BDE3-4608-9645-B255410C48C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5.xml><?xml version="1.0" encoding="utf-8"?>
<ds:datastoreItem xmlns:ds="http://schemas.openxmlformats.org/officeDocument/2006/customXml" ds:itemID="{6B4BEBAC-09B8-4877-97CA-9624FFA188CD}">
  <ds:schemaRefs>
    <ds:schemaRef ds:uri="http://schemas.microsoft.com/sharepoint/v3/contenttype/forms"/>
  </ds:schemaRefs>
</ds:datastoreItem>
</file>

<file path=customXml/itemProps206.xml><?xml version="1.0" encoding="utf-8"?>
<ds:datastoreItem xmlns:ds="http://schemas.openxmlformats.org/officeDocument/2006/customXml" ds:itemID="{884AD5E1-ABF8-4E97-A9A3-D713E831FAD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07.xml><?xml version="1.0" encoding="utf-8"?>
<ds:datastoreItem xmlns:ds="http://schemas.openxmlformats.org/officeDocument/2006/customXml" ds:itemID="{890896D4-A35F-4A09-8234-65C8D0A0453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8.xml><?xml version="1.0" encoding="utf-8"?>
<ds:datastoreItem xmlns:ds="http://schemas.openxmlformats.org/officeDocument/2006/customXml" ds:itemID="{08E231DA-B1C2-4143-A5E9-64B8084C3B5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09.xml><?xml version="1.0" encoding="utf-8"?>
<ds:datastoreItem xmlns:ds="http://schemas.openxmlformats.org/officeDocument/2006/customXml" ds:itemID="{A828C3B3-8A4B-4630-B840-6191B83C8942}">
  <ds:schemaRefs>
    <ds:schemaRef ds:uri="d4f0ad59-9db4-4f2d-8eeb-402f9842b207"/>
    <ds:schemaRef ds:uri="f3daa2cf-7d41-4bd5-a419-a50b4f890ec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.xml><?xml version="1.0" encoding="utf-8"?>
<ds:datastoreItem xmlns:ds="http://schemas.openxmlformats.org/officeDocument/2006/customXml" ds:itemID="{59F5BCF4-16D9-47E8-9146-403FCD2FD5A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0.xml><?xml version="1.0" encoding="utf-8"?>
<ds:datastoreItem xmlns:ds="http://schemas.openxmlformats.org/officeDocument/2006/customXml" ds:itemID="{60BA4D16-AC3B-43F9-A273-D29592BF9D1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11.xml><?xml version="1.0" encoding="utf-8"?>
<ds:datastoreItem xmlns:ds="http://schemas.openxmlformats.org/officeDocument/2006/customXml" ds:itemID="{AFC7AFEA-0645-4BDA-8B58-43FFA6638414}">
  <ds:schemaRefs>
    <ds:schemaRef ds:uri="http://schemas.microsoft.com/sharepoint/v3/contenttype/forms"/>
  </ds:schemaRefs>
</ds:datastoreItem>
</file>

<file path=customXml/itemProps212.xml><?xml version="1.0" encoding="utf-8"?>
<ds:datastoreItem xmlns:ds="http://schemas.openxmlformats.org/officeDocument/2006/customXml" ds:itemID="{FB4C53F3-E4C9-4AA1-B714-27AE0CF89B5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3.xml><?xml version="1.0" encoding="utf-8"?>
<ds:datastoreItem xmlns:ds="http://schemas.openxmlformats.org/officeDocument/2006/customXml" ds:itemID="{56F54BD3-3A11-48D1-9BCA-BC56190924BE}">
  <ds:schemaRefs>
    <ds:schemaRef ds:uri="http://schemas.microsoft.com/sharepoint/v3/contenttype/forms"/>
  </ds:schemaRefs>
</ds:datastoreItem>
</file>

<file path=customXml/itemProps214.xml><?xml version="1.0" encoding="utf-8"?>
<ds:datastoreItem xmlns:ds="http://schemas.openxmlformats.org/officeDocument/2006/customXml" ds:itemID="{E190BFC6-1F94-4E8D-ADB6-DBD232ACAC1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15.xml><?xml version="1.0" encoding="utf-8"?>
<ds:datastoreItem xmlns:ds="http://schemas.openxmlformats.org/officeDocument/2006/customXml" ds:itemID="{D44F2465-2A59-4C10-99D8-8E2AE2F7F409}">
  <ds:schemaRefs>
    <ds:schemaRef ds:uri="http://schemas.microsoft.com/sharepoint/v3/contenttype/forms"/>
  </ds:schemaRefs>
</ds:datastoreItem>
</file>

<file path=customXml/itemProps216.xml><?xml version="1.0" encoding="utf-8"?>
<ds:datastoreItem xmlns:ds="http://schemas.openxmlformats.org/officeDocument/2006/customXml" ds:itemID="{1D1EE380-A498-4FB3-9B49-552F8579806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17.xml><?xml version="1.0" encoding="utf-8"?>
<ds:datastoreItem xmlns:ds="http://schemas.openxmlformats.org/officeDocument/2006/customXml" ds:itemID="{91B96A96-7856-4064-8BD2-DC3A55383937}">
  <ds:schemaRefs>
    <ds:schemaRef ds:uri="http://schemas.microsoft.com/sharepoint/v3/contenttype/forms"/>
  </ds:schemaRefs>
</ds:datastoreItem>
</file>

<file path=customXml/itemProps218.xml><?xml version="1.0" encoding="utf-8"?>
<ds:datastoreItem xmlns:ds="http://schemas.openxmlformats.org/officeDocument/2006/customXml" ds:itemID="{E906DC62-4983-4FB3-99E3-D017737E7E6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9.xml><?xml version="1.0" encoding="utf-8"?>
<ds:datastoreItem xmlns:ds="http://schemas.openxmlformats.org/officeDocument/2006/customXml" ds:itemID="{CB47582A-C09A-4C5A-A572-CD5522CF6CF4}">
  <ds:schemaRefs>
    <ds:schemaRef ds:uri="http://schemas.microsoft.com/sharepoint/v3/contenttype/forms"/>
  </ds:schemaRefs>
</ds:datastoreItem>
</file>

<file path=customXml/itemProps22.xml><?xml version="1.0" encoding="utf-8"?>
<ds:datastoreItem xmlns:ds="http://schemas.openxmlformats.org/officeDocument/2006/customXml" ds:itemID="{EBB72840-5AAE-4150-8CBF-836F3A86838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20.xml><?xml version="1.0" encoding="utf-8"?>
<ds:datastoreItem xmlns:ds="http://schemas.openxmlformats.org/officeDocument/2006/customXml" ds:itemID="{0C291397-8353-4B10-8931-CA05C3EED0D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21.xml><?xml version="1.0" encoding="utf-8"?>
<ds:datastoreItem xmlns:ds="http://schemas.openxmlformats.org/officeDocument/2006/customXml" ds:itemID="{4DA854E2-5CF1-49A4-8314-8EFD93DCD4C8}">
  <ds:schemaRefs>
    <ds:schemaRef ds:uri="http://schemas.microsoft.com/sharepoint/v3/contenttype/forms"/>
  </ds:schemaRefs>
</ds:datastoreItem>
</file>

<file path=customXml/itemProps222.xml><?xml version="1.0" encoding="utf-8"?>
<ds:datastoreItem xmlns:ds="http://schemas.openxmlformats.org/officeDocument/2006/customXml" ds:itemID="{2B05CCBC-B334-430E-A24B-32F9BAC934EE}">
  <ds:schemaRefs>
    <ds:schemaRef ds:uri="http://schemas.microsoft.com/sharepoint/v3/contenttype/forms"/>
  </ds:schemaRefs>
</ds:datastoreItem>
</file>

<file path=customXml/itemProps223.xml><?xml version="1.0" encoding="utf-8"?>
<ds:datastoreItem xmlns:ds="http://schemas.openxmlformats.org/officeDocument/2006/customXml" ds:itemID="{494C0AD7-BA30-43CF-BF37-47A52C73C1D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24.xml><?xml version="1.0" encoding="utf-8"?>
<ds:datastoreItem xmlns:ds="http://schemas.openxmlformats.org/officeDocument/2006/customXml" ds:itemID="{1D341733-C486-4C19-BA60-664169692D03}">
  <ds:schemaRefs>
    <ds:schemaRef ds:uri="http://schemas.microsoft.com/sharepoint/v3/contenttype/forms"/>
  </ds:schemaRefs>
</ds:datastoreItem>
</file>

<file path=customXml/itemProps225.xml><?xml version="1.0" encoding="utf-8"?>
<ds:datastoreItem xmlns:ds="http://schemas.openxmlformats.org/officeDocument/2006/customXml" ds:itemID="{309D3E3C-BD48-42EC-ADA8-8D1FC44EE90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26.xml><?xml version="1.0" encoding="utf-8"?>
<ds:datastoreItem xmlns:ds="http://schemas.openxmlformats.org/officeDocument/2006/customXml" ds:itemID="{DC703B57-49FA-4308-B3C8-FF60C9F3B4C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27.xml><?xml version="1.0" encoding="utf-8"?>
<ds:datastoreItem xmlns:ds="http://schemas.openxmlformats.org/officeDocument/2006/customXml" ds:itemID="{5487A0D1-F9F0-4F6D-AFB1-8B6F97FB8C4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28.xml><?xml version="1.0" encoding="utf-8"?>
<ds:datastoreItem xmlns:ds="http://schemas.openxmlformats.org/officeDocument/2006/customXml" ds:itemID="{199E4C04-6B4D-441F-86BE-86D1213EA03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29.xml><?xml version="1.0" encoding="utf-8"?>
<ds:datastoreItem xmlns:ds="http://schemas.openxmlformats.org/officeDocument/2006/customXml" ds:itemID="{BF1663B3-CF5E-4B57-965E-AE50D36BDC4A}">
  <ds:schemaRefs>
    <ds:schemaRef ds:uri="http://schemas.microsoft.com/sharepoint/v3/contenttype/forms"/>
  </ds:schemaRefs>
</ds:datastoreItem>
</file>

<file path=customXml/itemProps23.xml><?xml version="1.0" encoding="utf-8"?>
<ds:datastoreItem xmlns:ds="http://schemas.openxmlformats.org/officeDocument/2006/customXml" ds:itemID="{6BB9C500-6921-4698-81E8-C8E6E51A2F7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30.xml><?xml version="1.0" encoding="utf-8"?>
<ds:datastoreItem xmlns:ds="http://schemas.openxmlformats.org/officeDocument/2006/customXml" ds:itemID="{5F0B234A-EF07-44B7-A20B-B473945167E5}">
  <ds:schemaRefs>
    <ds:schemaRef ds:uri="http://schemas.microsoft.com/sharepoint/v3/contenttype/forms"/>
  </ds:schemaRefs>
</ds:datastoreItem>
</file>

<file path=customXml/itemProps231.xml><?xml version="1.0" encoding="utf-8"?>
<ds:datastoreItem xmlns:ds="http://schemas.openxmlformats.org/officeDocument/2006/customXml" ds:itemID="{177054DD-B76F-4E98-898A-52AF0B5F080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32.xml><?xml version="1.0" encoding="utf-8"?>
<ds:datastoreItem xmlns:ds="http://schemas.openxmlformats.org/officeDocument/2006/customXml" ds:itemID="{45B4D0C6-FACB-48C7-B564-0411F19F3417}">
  <ds:schemaRefs>
    <ds:schemaRef ds:uri="http://schemas.microsoft.com/sharepoint/v3/contenttype/forms"/>
  </ds:schemaRefs>
</ds:datastoreItem>
</file>

<file path=customXml/itemProps233.xml><?xml version="1.0" encoding="utf-8"?>
<ds:datastoreItem xmlns:ds="http://schemas.openxmlformats.org/officeDocument/2006/customXml" ds:itemID="{3B3664F4-623D-4F4F-9407-3A8CB7C8145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34.xml><?xml version="1.0" encoding="utf-8"?>
<ds:datastoreItem xmlns:ds="http://schemas.openxmlformats.org/officeDocument/2006/customXml" ds:itemID="{E7E6633C-F7EB-4A08-B08B-B27FC9807B5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35.xml><?xml version="1.0" encoding="utf-8"?>
<ds:datastoreItem xmlns:ds="http://schemas.openxmlformats.org/officeDocument/2006/customXml" ds:itemID="{B315F5D2-E8E8-4EA4-92A2-CFC5FC8A13B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36.xml><?xml version="1.0" encoding="utf-8"?>
<ds:datastoreItem xmlns:ds="http://schemas.openxmlformats.org/officeDocument/2006/customXml" ds:itemID="{25900617-2553-4C9D-8E74-C09696C51D9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37.xml><?xml version="1.0" encoding="utf-8"?>
<ds:datastoreItem xmlns:ds="http://schemas.openxmlformats.org/officeDocument/2006/customXml" ds:itemID="{DEA76442-2334-40AE-8AA3-5F084F8676BB}">
  <ds:schemaRefs>
    <ds:schemaRef ds:uri="http://schemas.microsoft.com/sharepoint/v3/contenttype/forms"/>
  </ds:schemaRefs>
</ds:datastoreItem>
</file>

<file path=customXml/itemProps238.xml><?xml version="1.0" encoding="utf-8"?>
<ds:datastoreItem xmlns:ds="http://schemas.openxmlformats.org/officeDocument/2006/customXml" ds:itemID="{580F4018-B4C3-4A57-8831-90D0E7102F9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39.xml><?xml version="1.0" encoding="utf-8"?>
<ds:datastoreItem xmlns:ds="http://schemas.openxmlformats.org/officeDocument/2006/customXml" ds:itemID="{7AB4C56B-F61E-4048-9B2D-8D511413F3E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4.xml><?xml version="1.0" encoding="utf-8"?>
<ds:datastoreItem xmlns:ds="http://schemas.openxmlformats.org/officeDocument/2006/customXml" ds:itemID="{B09C5E3B-8BB5-44ED-97A5-6BFAC8EBC710}">
  <ds:schemaRefs>
    <ds:schemaRef ds:uri="http://schemas.microsoft.com/sharepoint/v3/contenttype/forms"/>
  </ds:schemaRefs>
</ds:datastoreItem>
</file>

<file path=customXml/itemProps240.xml><?xml version="1.0" encoding="utf-8"?>
<ds:datastoreItem xmlns:ds="http://schemas.openxmlformats.org/officeDocument/2006/customXml" ds:itemID="{9B830E2D-E512-4316-9B9C-1D2DDC51F6A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41.xml><?xml version="1.0" encoding="utf-8"?>
<ds:datastoreItem xmlns:ds="http://schemas.openxmlformats.org/officeDocument/2006/customXml" ds:itemID="{3D625887-18E6-4620-9288-C57905B7ACD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42.xml><?xml version="1.0" encoding="utf-8"?>
<ds:datastoreItem xmlns:ds="http://schemas.openxmlformats.org/officeDocument/2006/customXml" ds:itemID="{C9CDDD5A-5267-4243-B26B-AE3ADAF06BB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43.xml><?xml version="1.0" encoding="utf-8"?>
<ds:datastoreItem xmlns:ds="http://schemas.openxmlformats.org/officeDocument/2006/customXml" ds:itemID="{13329733-1197-4179-ACB6-10160D2D1C2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44.xml><?xml version="1.0" encoding="utf-8"?>
<ds:datastoreItem xmlns:ds="http://schemas.openxmlformats.org/officeDocument/2006/customXml" ds:itemID="{FDA12BC1-C78C-45B6-BAB3-568443F47ACC}">
  <ds:schemaRefs>
    <ds:schemaRef ds:uri="http://schemas.microsoft.com/sharepoint/v3/contenttype/forms"/>
  </ds:schemaRefs>
</ds:datastoreItem>
</file>

<file path=customXml/itemProps245.xml><?xml version="1.0" encoding="utf-8"?>
<ds:datastoreItem xmlns:ds="http://schemas.openxmlformats.org/officeDocument/2006/customXml" ds:itemID="{90E219A2-ECB5-4B4D-8D93-1DA8FE5C688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46.xml><?xml version="1.0" encoding="utf-8"?>
<ds:datastoreItem xmlns:ds="http://schemas.openxmlformats.org/officeDocument/2006/customXml" ds:itemID="{6B67C491-1269-4503-A7CF-BEB6E283196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47.xml><?xml version="1.0" encoding="utf-8"?>
<ds:datastoreItem xmlns:ds="http://schemas.openxmlformats.org/officeDocument/2006/customXml" ds:itemID="{D2E6E91B-9958-4BB7-902F-2D89763539CF}">
  <ds:schemaRefs>
    <ds:schemaRef ds:uri="http://schemas.microsoft.com/sharepoint/v3/contenttype/forms"/>
  </ds:schemaRefs>
</ds:datastoreItem>
</file>

<file path=customXml/itemProps248.xml><?xml version="1.0" encoding="utf-8"?>
<ds:datastoreItem xmlns:ds="http://schemas.openxmlformats.org/officeDocument/2006/customXml" ds:itemID="{63BAE044-7F64-4F3D-8A65-546A358335B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49.xml><?xml version="1.0" encoding="utf-8"?>
<ds:datastoreItem xmlns:ds="http://schemas.openxmlformats.org/officeDocument/2006/customXml" ds:itemID="{F99824E1-9B78-4995-B800-9DA9297C5561}">
  <ds:schemaRefs>
    <ds:schemaRef ds:uri="http://schemas.microsoft.com/sharepoint/v3/contenttype/forms"/>
  </ds:schemaRefs>
</ds:datastoreItem>
</file>

<file path=customXml/itemProps25.xml><?xml version="1.0" encoding="utf-8"?>
<ds:datastoreItem xmlns:ds="http://schemas.openxmlformats.org/officeDocument/2006/customXml" ds:itemID="{B38DBB17-9DA5-428B-9332-BB4ECB379FE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50.xml><?xml version="1.0" encoding="utf-8"?>
<ds:datastoreItem xmlns:ds="http://schemas.openxmlformats.org/officeDocument/2006/customXml" ds:itemID="{0C27AC6F-CC69-4188-8AFC-C65D2FF52EC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51.xml><?xml version="1.0" encoding="utf-8"?>
<ds:datastoreItem xmlns:ds="http://schemas.openxmlformats.org/officeDocument/2006/customXml" ds:itemID="{7E7C7539-EA1B-4012-92EB-7CBAF3A4CFF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52.xml><?xml version="1.0" encoding="utf-8"?>
<ds:datastoreItem xmlns:ds="http://schemas.openxmlformats.org/officeDocument/2006/customXml" ds:itemID="{3CFFC472-45D4-4D31-B24A-0C73BD21C16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53.xml><?xml version="1.0" encoding="utf-8"?>
<ds:datastoreItem xmlns:ds="http://schemas.openxmlformats.org/officeDocument/2006/customXml" ds:itemID="{CEEB6015-2292-4E6B-8049-B33345FE26AE}">
  <ds:schemaRefs>
    <ds:schemaRef ds:uri="http://schemas.microsoft.com/sharepoint/v3/contenttype/forms"/>
  </ds:schemaRefs>
</ds:datastoreItem>
</file>

<file path=customXml/itemProps254.xml><?xml version="1.0" encoding="utf-8"?>
<ds:datastoreItem xmlns:ds="http://schemas.openxmlformats.org/officeDocument/2006/customXml" ds:itemID="{8FB5E76B-269D-48D2-9959-AF052CC56733}">
  <ds:schemaRefs>
    <ds:schemaRef ds:uri="http://schemas.microsoft.com/sharepoint/v3/contenttype/forms"/>
  </ds:schemaRefs>
</ds:datastoreItem>
</file>

<file path=customXml/itemProps255.xml><?xml version="1.0" encoding="utf-8"?>
<ds:datastoreItem xmlns:ds="http://schemas.openxmlformats.org/officeDocument/2006/customXml" ds:itemID="{EA63EEA3-DADD-4225-AD17-C0011CFBCEA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56.xml><?xml version="1.0" encoding="utf-8"?>
<ds:datastoreItem xmlns:ds="http://schemas.openxmlformats.org/officeDocument/2006/customXml" ds:itemID="{569A2C6E-7AEB-41C5-8DB7-2029396C2D36}">
  <ds:schemaRefs>
    <ds:schemaRef ds:uri="http://schemas.microsoft.com/sharepoint/v3/contenttype/forms"/>
  </ds:schemaRefs>
</ds:datastoreItem>
</file>

<file path=customXml/itemProps257.xml><?xml version="1.0" encoding="utf-8"?>
<ds:datastoreItem xmlns:ds="http://schemas.openxmlformats.org/officeDocument/2006/customXml" ds:itemID="{4A21B814-587C-4E67-A539-AC6BD4AC75F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58.xml><?xml version="1.0" encoding="utf-8"?>
<ds:datastoreItem xmlns:ds="http://schemas.openxmlformats.org/officeDocument/2006/customXml" ds:itemID="{14E31E08-B1DF-4C05-8230-3DD89D4A9A9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59.xml><?xml version="1.0" encoding="utf-8"?>
<ds:datastoreItem xmlns:ds="http://schemas.openxmlformats.org/officeDocument/2006/customXml" ds:itemID="{226D3163-4788-453C-B3E1-25CC46707BE2}">
  <ds:schemaRefs>
    <ds:schemaRef ds:uri="http://schemas.microsoft.com/sharepoint/v3/contenttype/forms"/>
  </ds:schemaRefs>
</ds:datastoreItem>
</file>

<file path=customXml/itemProps26.xml><?xml version="1.0" encoding="utf-8"?>
<ds:datastoreItem xmlns:ds="http://schemas.openxmlformats.org/officeDocument/2006/customXml" ds:itemID="{C0DF0F05-018F-4BD0-9624-37973A40303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60.xml><?xml version="1.0" encoding="utf-8"?>
<ds:datastoreItem xmlns:ds="http://schemas.openxmlformats.org/officeDocument/2006/customXml" ds:itemID="{9E52E6BA-910C-40B0-BB54-564E585B671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61.xml><?xml version="1.0" encoding="utf-8"?>
<ds:datastoreItem xmlns:ds="http://schemas.openxmlformats.org/officeDocument/2006/customXml" ds:itemID="{D23D9164-5ABE-4A1C-BBE0-868D212D121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62.xml><?xml version="1.0" encoding="utf-8"?>
<ds:datastoreItem xmlns:ds="http://schemas.openxmlformats.org/officeDocument/2006/customXml" ds:itemID="{3F8ED9DC-56D6-444D-B3E1-6C238C650277}">
  <ds:schemaRefs>
    <ds:schemaRef ds:uri="http://schemas.microsoft.com/sharepoint/v3/contenttype/forms"/>
  </ds:schemaRefs>
</ds:datastoreItem>
</file>

<file path=customXml/itemProps263.xml><?xml version="1.0" encoding="utf-8"?>
<ds:datastoreItem xmlns:ds="http://schemas.openxmlformats.org/officeDocument/2006/customXml" ds:itemID="{51C7CA74-D940-4E60-847A-DAC3CF6A0DB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64.xml><?xml version="1.0" encoding="utf-8"?>
<ds:datastoreItem xmlns:ds="http://schemas.openxmlformats.org/officeDocument/2006/customXml" ds:itemID="{3DCE4324-F3D0-4E9D-B18A-3A7331FF23A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65.xml><?xml version="1.0" encoding="utf-8"?>
<ds:datastoreItem xmlns:ds="http://schemas.openxmlformats.org/officeDocument/2006/customXml" ds:itemID="{ACC8C800-719C-4FE7-8040-06354083EF0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66.xml><?xml version="1.0" encoding="utf-8"?>
<ds:datastoreItem xmlns:ds="http://schemas.openxmlformats.org/officeDocument/2006/customXml" ds:itemID="{4809B335-4C8B-45C1-B0DC-2C22DE2671E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67.xml><?xml version="1.0" encoding="utf-8"?>
<ds:datastoreItem xmlns:ds="http://schemas.openxmlformats.org/officeDocument/2006/customXml" ds:itemID="{3C13A2AE-EC7E-4189-816A-ADED1BA1E04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68.xml><?xml version="1.0" encoding="utf-8"?>
<ds:datastoreItem xmlns:ds="http://schemas.openxmlformats.org/officeDocument/2006/customXml" ds:itemID="{F97BAB08-530A-41AA-AE8A-4702D6C5E799}">
  <ds:schemaRefs>
    <ds:schemaRef ds:uri="http://schemas.microsoft.com/sharepoint/v3/contenttype/forms"/>
  </ds:schemaRefs>
</ds:datastoreItem>
</file>

<file path=customXml/itemProps269.xml><?xml version="1.0" encoding="utf-8"?>
<ds:datastoreItem xmlns:ds="http://schemas.openxmlformats.org/officeDocument/2006/customXml" ds:itemID="{06952A1D-07A6-4488-BD22-607B97AA7A3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7.xml><?xml version="1.0" encoding="utf-8"?>
<ds:datastoreItem xmlns:ds="http://schemas.openxmlformats.org/officeDocument/2006/customXml" ds:itemID="{7E135B07-288E-4667-A8A0-11641C066CB5}">
  <ds:schemaRefs>
    <ds:schemaRef ds:uri="http://schemas.microsoft.com/sharepoint/v3/contenttype/forms"/>
  </ds:schemaRefs>
</ds:datastoreItem>
</file>

<file path=customXml/itemProps270.xml><?xml version="1.0" encoding="utf-8"?>
<ds:datastoreItem xmlns:ds="http://schemas.openxmlformats.org/officeDocument/2006/customXml" ds:itemID="{D4FFD58C-3D40-48C6-BC2B-B1EC97B5681E}">
  <ds:schemaRefs>
    <ds:schemaRef ds:uri="http://schemas.microsoft.com/sharepoint/v3/contenttype/forms"/>
  </ds:schemaRefs>
</ds:datastoreItem>
</file>

<file path=customXml/itemProps271.xml><?xml version="1.0" encoding="utf-8"?>
<ds:datastoreItem xmlns:ds="http://schemas.openxmlformats.org/officeDocument/2006/customXml" ds:itemID="{E7A6C0C4-4597-442C-AC99-8164026E3CB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72.xml><?xml version="1.0" encoding="utf-8"?>
<ds:datastoreItem xmlns:ds="http://schemas.openxmlformats.org/officeDocument/2006/customXml" ds:itemID="{F177BD3D-80ED-4BEE-8B3E-8584908BB61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73.xml><?xml version="1.0" encoding="utf-8"?>
<ds:datastoreItem xmlns:ds="http://schemas.openxmlformats.org/officeDocument/2006/customXml" ds:itemID="{A74E88AD-58CF-48C4-A0A9-ED73C0D60C99}">
  <ds:schemaRefs>
    <ds:schemaRef ds:uri="http://schemas.microsoft.com/sharepoint/v3/contenttype/forms"/>
  </ds:schemaRefs>
</ds:datastoreItem>
</file>

<file path=customXml/itemProps274.xml><?xml version="1.0" encoding="utf-8"?>
<ds:datastoreItem xmlns:ds="http://schemas.openxmlformats.org/officeDocument/2006/customXml" ds:itemID="{B400F8B2-2002-48CC-9B2A-9EB82137E65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75.xml><?xml version="1.0" encoding="utf-8"?>
<ds:datastoreItem xmlns:ds="http://schemas.openxmlformats.org/officeDocument/2006/customXml" ds:itemID="{D71D414E-EAED-4E37-B8F9-445DF4026FAA}">
  <ds:schemaRefs>
    <ds:schemaRef ds:uri="http://schemas.microsoft.com/sharepoint/v3/contenttype/forms"/>
  </ds:schemaRefs>
</ds:datastoreItem>
</file>

<file path=customXml/itemProps276.xml><?xml version="1.0" encoding="utf-8"?>
<ds:datastoreItem xmlns:ds="http://schemas.openxmlformats.org/officeDocument/2006/customXml" ds:itemID="{F109A982-12EA-4BDA-9CD3-3A152FB3A3D0}">
  <ds:schemaRefs>
    <ds:schemaRef ds:uri="http://schemas.microsoft.com/sharepoint/v3/contenttype/forms"/>
  </ds:schemaRefs>
</ds:datastoreItem>
</file>

<file path=customXml/itemProps277.xml><?xml version="1.0" encoding="utf-8"?>
<ds:datastoreItem xmlns:ds="http://schemas.openxmlformats.org/officeDocument/2006/customXml" ds:itemID="{F774158D-3F9C-4BD0-A3A5-BE1A624ED34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78.xml><?xml version="1.0" encoding="utf-8"?>
<ds:datastoreItem xmlns:ds="http://schemas.openxmlformats.org/officeDocument/2006/customXml" ds:itemID="{28112289-0B70-4874-9EF9-EDA4941EB65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79.xml><?xml version="1.0" encoding="utf-8"?>
<ds:datastoreItem xmlns:ds="http://schemas.openxmlformats.org/officeDocument/2006/customXml" ds:itemID="{FB5DB1D8-BD7D-4801-A51C-C303E6E5AB8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8.xml><?xml version="1.0" encoding="utf-8"?>
<ds:datastoreItem xmlns:ds="http://schemas.openxmlformats.org/officeDocument/2006/customXml" ds:itemID="{3E63EE03-C194-44CC-AA54-6A757656F33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80.xml><?xml version="1.0" encoding="utf-8"?>
<ds:datastoreItem xmlns:ds="http://schemas.openxmlformats.org/officeDocument/2006/customXml" ds:itemID="{1DF8A454-BC35-40AC-945D-14AF6FBD834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81.xml><?xml version="1.0" encoding="utf-8"?>
<ds:datastoreItem xmlns:ds="http://schemas.openxmlformats.org/officeDocument/2006/customXml" ds:itemID="{AFBD4B54-238D-4CF0-9D4D-D0A14A5431A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82.xml><?xml version="1.0" encoding="utf-8"?>
<ds:datastoreItem xmlns:ds="http://schemas.openxmlformats.org/officeDocument/2006/customXml" ds:itemID="{577061CE-8EAF-48A7-9476-8354B75A2487}">
  <ds:schemaRefs>
    <ds:schemaRef ds:uri="http://schemas.microsoft.com/sharepoint/v3/contenttype/forms"/>
  </ds:schemaRefs>
</ds:datastoreItem>
</file>

<file path=customXml/itemProps283.xml><?xml version="1.0" encoding="utf-8"?>
<ds:datastoreItem xmlns:ds="http://schemas.openxmlformats.org/officeDocument/2006/customXml" ds:itemID="{1CA3FA59-1870-4645-B071-90E199A7A4B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84.xml><?xml version="1.0" encoding="utf-8"?>
<ds:datastoreItem xmlns:ds="http://schemas.openxmlformats.org/officeDocument/2006/customXml" ds:itemID="{785DE833-C8F3-460D-A3D1-6F69D94F1B3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85.xml><?xml version="1.0" encoding="utf-8"?>
<ds:datastoreItem xmlns:ds="http://schemas.openxmlformats.org/officeDocument/2006/customXml" ds:itemID="{81CCB216-590C-493E-9DA7-39ABFA72AEEA}">
  <ds:schemaRefs>
    <ds:schemaRef ds:uri="http://schemas.microsoft.com/sharepoint/v3/contenttype/forms"/>
  </ds:schemaRefs>
</ds:datastoreItem>
</file>

<file path=customXml/itemProps286.xml><?xml version="1.0" encoding="utf-8"?>
<ds:datastoreItem xmlns:ds="http://schemas.openxmlformats.org/officeDocument/2006/customXml" ds:itemID="{D2033DE0-BF99-4484-8B5D-148E5CD873F0}">
  <ds:schemaRefs>
    <ds:schemaRef ds:uri="http://schemas.microsoft.com/sharepoint/v3/contenttype/forms"/>
  </ds:schemaRefs>
</ds:datastoreItem>
</file>

<file path=customXml/itemProps287.xml><?xml version="1.0" encoding="utf-8"?>
<ds:datastoreItem xmlns:ds="http://schemas.openxmlformats.org/officeDocument/2006/customXml" ds:itemID="{28FBB7F0-7DAB-4879-A38B-F7B7AEB4DBD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88.xml><?xml version="1.0" encoding="utf-8"?>
<ds:datastoreItem xmlns:ds="http://schemas.openxmlformats.org/officeDocument/2006/customXml" ds:itemID="{4E7B23F2-7ADC-41EE-94C6-8D8C053F834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89.xml><?xml version="1.0" encoding="utf-8"?>
<ds:datastoreItem xmlns:ds="http://schemas.openxmlformats.org/officeDocument/2006/customXml" ds:itemID="{E94514B8-ABC1-4923-B0F1-4BAA4F0AA82F}">
  <ds:schemaRefs>
    <ds:schemaRef ds:uri="http://schemas.microsoft.com/sharepoint/v3/contenttype/forms"/>
  </ds:schemaRefs>
</ds:datastoreItem>
</file>

<file path=customXml/itemProps29.xml><?xml version="1.0" encoding="utf-8"?>
<ds:datastoreItem xmlns:ds="http://schemas.openxmlformats.org/officeDocument/2006/customXml" ds:itemID="{35FB1289-4E35-4861-8465-04F3FDD59A26}">
  <ds:schemaRefs>
    <ds:schemaRef ds:uri="http://schemas.microsoft.com/sharepoint/v3/contenttype/forms"/>
  </ds:schemaRefs>
</ds:datastoreItem>
</file>

<file path=customXml/itemProps290.xml><?xml version="1.0" encoding="utf-8"?>
<ds:datastoreItem xmlns:ds="http://schemas.openxmlformats.org/officeDocument/2006/customXml" ds:itemID="{546351DB-A348-4D1C-B098-840485C9C7B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91.xml><?xml version="1.0" encoding="utf-8"?>
<ds:datastoreItem xmlns:ds="http://schemas.openxmlformats.org/officeDocument/2006/customXml" ds:itemID="{4DB5965A-C197-442D-BE2A-3005F06E7BA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92.xml><?xml version="1.0" encoding="utf-8"?>
<ds:datastoreItem xmlns:ds="http://schemas.openxmlformats.org/officeDocument/2006/customXml" ds:itemID="{9297098A-DDF3-4BDF-A141-F56D15326E06}">
  <ds:schemaRefs>
    <ds:schemaRef ds:uri="http://schemas.microsoft.com/sharepoint/v3/contenttype/forms"/>
  </ds:schemaRefs>
</ds:datastoreItem>
</file>

<file path=customXml/itemProps293.xml><?xml version="1.0" encoding="utf-8"?>
<ds:datastoreItem xmlns:ds="http://schemas.openxmlformats.org/officeDocument/2006/customXml" ds:itemID="{5836BF07-1CA0-4FB9-9D79-152C388556E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94.xml><?xml version="1.0" encoding="utf-8"?>
<ds:datastoreItem xmlns:ds="http://schemas.openxmlformats.org/officeDocument/2006/customXml" ds:itemID="{A1A2F00C-8280-4C70-872F-C9940D464BD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95.xml><?xml version="1.0" encoding="utf-8"?>
<ds:datastoreItem xmlns:ds="http://schemas.openxmlformats.org/officeDocument/2006/customXml" ds:itemID="{F64FD66C-AEBE-46EB-A51F-5778D86188E7}">
  <ds:schemaRefs>
    <ds:schemaRef ds:uri="http://schemas.microsoft.com/sharepoint/v3/contenttype/forms"/>
  </ds:schemaRefs>
</ds:datastoreItem>
</file>

<file path=customXml/itemProps296.xml><?xml version="1.0" encoding="utf-8"?>
<ds:datastoreItem xmlns:ds="http://schemas.openxmlformats.org/officeDocument/2006/customXml" ds:itemID="{9D967AD0-DDD2-46AD-BF83-472649E0682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97.xml><?xml version="1.0" encoding="utf-8"?>
<ds:datastoreItem xmlns:ds="http://schemas.openxmlformats.org/officeDocument/2006/customXml" ds:itemID="{D986CF71-4139-4C1B-A7BD-C8FDCB2419D1}">
  <ds:schemaRefs>
    <ds:schemaRef ds:uri="http://schemas.microsoft.com/sharepoint/v3/contenttype/forms"/>
  </ds:schemaRefs>
</ds:datastoreItem>
</file>

<file path=customXml/itemProps298.xml><?xml version="1.0" encoding="utf-8"?>
<ds:datastoreItem xmlns:ds="http://schemas.openxmlformats.org/officeDocument/2006/customXml" ds:itemID="{32695CEE-FC37-46A9-86BD-04770BBC983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99.xml><?xml version="1.0" encoding="utf-8"?>
<ds:datastoreItem xmlns:ds="http://schemas.openxmlformats.org/officeDocument/2006/customXml" ds:itemID="{D71CF3E5-F13E-442D-AE4E-BC5A9A076B8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A9D15DE-76E6-4E6B-B3EE-7E0B74CD2A77}">
  <ds:schemaRefs>
    <ds:schemaRef ds:uri="http://purl.org/dc/terms/"/>
    <ds:schemaRef ds:uri="http://schemas.microsoft.com/office/2006/documentManagement/types"/>
    <ds:schemaRef ds:uri="http://purl.org/dc/dcmitype/"/>
    <ds:schemaRef ds:uri="http://purl.org/dc/elements/1.1/"/>
    <ds:schemaRef ds:uri="http://www.w3.org/XML/1998/namespace"/>
    <ds:schemaRef ds:uri="a65d7cdc-7643-4b47-b7ee-f2c9d8fd8459"/>
    <ds:schemaRef ds:uri="http://schemas.openxmlformats.org/package/2006/metadata/core-properties"/>
    <ds:schemaRef ds:uri="http://schemas.microsoft.com/office/infopath/2007/PartnerControls"/>
    <ds:schemaRef ds:uri="a5df8268-3b34-4463-a895-3ec8cfc42bd5"/>
    <ds:schemaRef ds:uri="http://schemas.microsoft.com/office/2006/metadata/properties"/>
  </ds:schemaRefs>
</ds:datastoreItem>
</file>

<file path=customXml/itemProps30.xml><?xml version="1.0" encoding="utf-8"?>
<ds:datastoreItem xmlns:ds="http://schemas.openxmlformats.org/officeDocument/2006/customXml" ds:itemID="{235F3945-0990-43C0-91B0-121BD29A07D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00.xml><?xml version="1.0" encoding="utf-8"?>
<ds:datastoreItem xmlns:ds="http://schemas.openxmlformats.org/officeDocument/2006/customXml" ds:itemID="{D0823B65-338A-4D5C-9CC4-696C7BB2DEB5}">
  <ds:schemaRefs>
    <ds:schemaRef ds:uri="http://schemas.microsoft.com/sharepoint/v3/contenttype/forms"/>
  </ds:schemaRefs>
</ds:datastoreItem>
</file>

<file path=customXml/itemProps301.xml><?xml version="1.0" encoding="utf-8"?>
<ds:datastoreItem xmlns:ds="http://schemas.openxmlformats.org/officeDocument/2006/customXml" ds:itemID="{0F96AA5E-12D3-464D-BE64-D2A6D36AA01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02.xml><?xml version="1.0" encoding="utf-8"?>
<ds:datastoreItem xmlns:ds="http://schemas.openxmlformats.org/officeDocument/2006/customXml" ds:itemID="{8757AC2A-DE25-4FD0-B775-306D6F9FA51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03.xml><?xml version="1.0" encoding="utf-8"?>
<ds:datastoreItem xmlns:ds="http://schemas.openxmlformats.org/officeDocument/2006/customXml" ds:itemID="{07AB4A3A-392D-4C62-B959-F92A8A601AAD}">
  <ds:schemaRefs>
    <ds:schemaRef ds:uri="http://schemas.microsoft.com/sharepoint/v3/contenttype/forms"/>
  </ds:schemaRefs>
</ds:datastoreItem>
</file>

<file path=customXml/itemProps304.xml><?xml version="1.0" encoding="utf-8"?>
<ds:datastoreItem xmlns:ds="http://schemas.openxmlformats.org/officeDocument/2006/customXml" ds:itemID="{E1D7B60C-E3B9-4BA4-866E-69C4F30ED49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05.xml><?xml version="1.0" encoding="utf-8"?>
<ds:datastoreItem xmlns:ds="http://schemas.openxmlformats.org/officeDocument/2006/customXml" ds:itemID="{1E29E55F-5651-4618-B915-A4A0CB74D97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06.xml><?xml version="1.0" encoding="utf-8"?>
<ds:datastoreItem xmlns:ds="http://schemas.openxmlformats.org/officeDocument/2006/customXml" ds:itemID="{0365684C-24CD-47E4-8CE9-75959C04EA6E}">
  <ds:schemaRefs>
    <ds:schemaRef ds:uri="http://schemas.microsoft.com/sharepoint/v3/contenttype/forms"/>
  </ds:schemaRefs>
</ds:datastoreItem>
</file>

<file path=customXml/itemProps307.xml><?xml version="1.0" encoding="utf-8"?>
<ds:datastoreItem xmlns:ds="http://schemas.openxmlformats.org/officeDocument/2006/customXml" ds:itemID="{454BFA62-B45B-4629-801B-495A9E6673C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08.xml><?xml version="1.0" encoding="utf-8"?>
<ds:datastoreItem xmlns:ds="http://schemas.openxmlformats.org/officeDocument/2006/customXml" ds:itemID="{265A9F15-60ED-49F8-BB3A-ACA15EA1468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09.xml><?xml version="1.0" encoding="utf-8"?>
<ds:datastoreItem xmlns:ds="http://schemas.openxmlformats.org/officeDocument/2006/customXml" ds:itemID="{287D04A1-3425-4BB1-AA1F-50F5171188F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1.xml><?xml version="1.0" encoding="utf-8"?>
<ds:datastoreItem xmlns:ds="http://schemas.openxmlformats.org/officeDocument/2006/customXml" ds:itemID="{BD6C85F9-00C7-446A-B70C-E4E3670E847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10.xml><?xml version="1.0" encoding="utf-8"?>
<ds:datastoreItem xmlns:ds="http://schemas.openxmlformats.org/officeDocument/2006/customXml" ds:itemID="{90C1944E-C844-47FC-B241-268E61CA4CBE}">
  <ds:schemaRefs>
    <ds:schemaRef ds:uri="http://schemas.microsoft.com/sharepoint/v3/contenttype/forms"/>
  </ds:schemaRefs>
</ds:datastoreItem>
</file>

<file path=customXml/itemProps311.xml><?xml version="1.0" encoding="utf-8"?>
<ds:datastoreItem xmlns:ds="http://schemas.openxmlformats.org/officeDocument/2006/customXml" ds:itemID="{5139BA03-B7D5-4157-9D09-C52885F343F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12.xml><?xml version="1.0" encoding="utf-8"?>
<ds:datastoreItem xmlns:ds="http://schemas.openxmlformats.org/officeDocument/2006/customXml" ds:itemID="{F7F5E9D8-F47E-4096-8941-FBF0B3B01F8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13.xml><?xml version="1.0" encoding="utf-8"?>
<ds:datastoreItem xmlns:ds="http://schemas.openxmlformats.org/officeDocument/2006/customXml" ds:itemID="{418D29D8-E6EB-41B8-ABA2-DA4836D7B23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14.xml><?xml version="1.0" encoding="utf-8"?>
<ds:datastoreItem xmlns:ds="http://schemas.openxmlformats.org/officeDocument/2006/customXml" ds:itemID="{AC3D7AC5-B4D2-493B-B735-A27492604B84}">
  <ds:schemaRefs>
    <ds:schemaRef ds:uri="http://schemas.microsoft.com/sharepoint/v3/contenttype/forms"/>
  </ds:schemaRefs>
</ds:datastoreItem>
</file>

<file path=customXml/itemProps315.xml><?xml version="1.0" encoding="utf-8"?>
<ds:datastoreItem xmlns:ds="http://schemas.openxmlformats.org/officeDocument/2006/customXml" ds:itemID="{A440194E-E1FA-4D07-910E-29BD2966B886}">
  <ds:schemaRefs>
    <ds:schemaRef ds:uri="http://schemas.microsoft.com/sharepoint/v3/contenttype/forms"/>
  </ds:schemaRefs>
</ds:datastoreItem>
</file>

<file path=customXml/itemProps316.xml><?xml version="1.0" encoding="utf-8"?>
<ds:datastoreItem xmlns:ds="http://schemas.openxmlformats.org/officeDocument/2006/customXml" ds:itemID="{551F1DC2-3C59-4492-BF67-4479A965316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17.xml><?xml version="1.0" encoding="utf-8"?>
<ds:datastoreItem xmlns:ds="http://schemas.openxmlformats.org/officeDocument/2006/customXml" ds:itemID="{2057EF27-3E34-4D87-8702-12E7AA62DEA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18.xml><?xml version="1.0" encoding="utf-8"?>
<ds:datastoreItem xmlns:ds="http://schemas.openxmlformats.org/officeDocument/2006/customXml" ds:itemID="{7CF71513-F882-4634-AEA7-A735EEC6DFF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19.xml><?xml version="1.0" encoding="utf-8"?>
<ds:datastoreItem xmlns:ds="http://schemas.openxmlformats.org/officeDocument/2006/customXml" ds:itemID="{1CCE18D8-6A52-4CBF-9732-653906B8EB8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2.xml><?xml version="1.0" encoding="utf-8"?>
<ds:datastoreItem xmlns:ds="http://schemas.openxmlformats.org/officeDocument/2006/customXml" ds:itemID="{266344B5-7D21-4EEB-A246-79849E3F783C}">
  <ds:schemaRefs>
    <ds:schemaRef ds:uri="http://schemas.microsoft.com/sharepoint/v3/contenttype/forms"/>
  </ds:schemaRefs>
</ds:datastoreItem>
</file>

<file path=customXml/itemProps320.xml><?xml version="1.0" encoding="utf-8"?>
<ds:datastoreItem xmlns:ds="http://schemas.openxmlformats.org/officeDocument/2006/customXml" ds:itemID="{74518D13-EF6D-48CA-88E8-67D45C3F1897}">
  <ds:schemaRefs>
    <ds:schemaRef ds:uri="http://schemas.microsoft.com/sharepoint/v3/contenttype/forms"/>
  </ds:schemaRefs>
</ds:datastoreItem>
</file>

<file path=customXml/itemProps321.xml><?xml version="1.0" encoding="utf-8"?>
<ds:datastoreItem xmlns:ds="http://schemas.openxmlformats.org/officeDocument/2006/customXml" ds:itemID="{20A59D11-B0C6-4AAC-8105-9B315C3E34F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22.xml><?xml version="1.0" encoding="utf-8"?>
<ds:datastoreItem xmlns:ds="http://schemas.openxmlformats.org/officeDocument/2006/customXml" ds:itemID="{18D63F63-BE30-4ED9-B347-36CC4222DEC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23.xml><?xml version="1.0" encoding="utf-8"?>
<ds:datastoreItem xmlns:ds="http://schemas.openxmlformats.org/officeDocument/2006/customXml" ds:itemID="{4860C474-D36E-4443-951C-8E32C12CE05A}">
  <ds:schemaRefs>
    <ds:schemaRef ds:uri="http://schemas.microsoft.com/sharepoint/v3/contenttype/forms"/>
  </ds:schemaRefs>
</ds:datastoreItem>
</file>

<file path=customXml/itemProps324.xml><?xml version="1.0" encoding="utf-8"?>
<ds:datastoreItem xmlns:ds="http://schemas.openxmlformats.org/officeDocument/2006/customXml" ds:itemID="{58655333-E025-4A20-976D-7964EAC7C57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25.xml><?xml version="1.0" encoding="utf-8"?>
<ds:datastoreItem xmlns:ds="http://schemas.openxmlformats.org/officeDocument/2006/customXml" ds:itemID="{95715160-2566-4A3C-9F49-BE6656B94B8A}">
  <ds:schemaRefs>
    <ds:schemaRef ds:uri="http://schemas.microsoft.com/sharepoint/v3/contenttype/forms"/>
  </ds:schemaRefs>
</ds:datastoreItem>
</file>

<file path=customXml/itemProps326.xml><?xml version="1.0" encoding="utf-8"?>
<ds:datastoreItem xmlns:ds="http://schemas.openxmlformats.org/officeDocument/2006/customXml" ds:itemID="{543AEB0A-22C9-4E4A-84DE-0DFAC37995EB}">
  <ds:schemaRefs>
    <ds:schemaRef ds:uri="http://schemas.microsoft.com/sharepoint/v3/contenttype/forms"/>
  </ds:schemaRefs>
</ds:datastoreItem>
</file>

<file path=customXml/itemProps327.xml><?xml version="1.0" encoding="utf-8"?>
<ds:datastoreItem xmlns:ds="http://schemas.openxmlformats.org/officeDocument/2006/customXml" ds:itemID="{AC7A9106-0285-46F5-9508-3E0844E872C8}">
  <ds:schemaRefs>
    <ds:schemaRef ds:uri="http://schemas.microsoft.com/sharepoint/v3/contenttype/forms"/>
  </ds:schemaRefs>
</ds:datastoreItem>
</file>

<file path=customXml/itemProps328.xml><?xml version="1.0" encoding="utf-8"?>
<ds:datastoreItem xmlns:ds="http://schemas.openxmlformats.org/officeDocument/2006/customXml" ds:itemID="{9998BCAE-D574-4267-844E-D71DE54932B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29.xml><?xml version="1.0" encoding="utf-8"?>
<ds:datastoreItem xmlns:ds="http://schemas.openxmlformats.org/officeDocument/2006/customXml" ds:itemID="{CCE26B86-0C27-4048-BC2D-71DE680F73F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3.xml><?xml version="1.0" encoding="utf-8"?>
<ds:datastoreItem xmlns:ds="http://schemas.openxmlformats.org/officeDocument/2006/customXml" ds:itemID="{AAD3F113-A1FE-48F8-A9BA-B177D30F73D6}">
  <ds:schemaRefs>
    <ds:schemaRef ds:uri="http://schemas.microsoft.com/sharepoint/v3/contenttype/forms"/>
  </ds:schemaRefs>
</ds:datastoreItem>
</file>

<file path=customXml/itemProps330.xml><?xml version="1.0" encoding="utf-8"?>
<ds:datastoreItem xmlns:ds="http://schemas.openxmlformats.org/officeDocument/2006/customXml" ds:itemID="{071CBCCB-1C30-4681-836F-24B1ABFF25F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31.xml><?xml version="1.0" encoding="utf-8"?>
<ds:datastoreItem xmlns:ds="http://schemas.openxmlformats.org/officeDocument/2006/customXml" ds:itemID="{041286AE-19C0-402F-B7C7-761AC1CAEDB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32.xml><?xml version="1.0" encoding="utf-8"?>
<ds:datastoreItem xmlns:ds="http://schemas.openxmlformats.org/officeDocument/2006/customXml" ds:itemID="{7B76B24E-996B-4EF9-AB54-4B3B9B18558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33.xml><?xml version="1.0" encoding="utf-8"?>
<ds:datastoreItem xmlns:ds="http://schemas.openxmlformats.org/officeDocument/2006/customXml" ds:itemID="{8D77745F-D6C6-4BBD-9A72-7C2C41E7402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34.xml><?xml version="1.0" encoding="utf-8"?>
<ds:datastoreItem xmlns:ds="http://schemas.openxmlformats.org/officeDocument/2006/customXml" ds:itemID="{07839A6F-4410-49BA-90D0-C1B7E48707CA}">
  <ds:schemaRefs>
    <ds:schemaRef ds:uri="http://schemas.microsoft.com/sharepoint/v3/contenttype/forms"/>
  </ds:schemaRefs>
</ds:datastoreItem>
</file>

<file path=customXml/itemProps335.xml><?xml version="1.0" encoding="utf-8"?>
<ds:datastoreItem xmlns:ds="http://schemas.openxmlformats.org/officeDocument/2006/customXml" ds:itemID="{5E887732-0624-4512-AF70-F24121E3E02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36.xml><?xml version="1.0" encoding="utf-8"?>
<ds:datastoreItem xmlns:ds="http://schemas.openxmlformats.org/officeDocument/2006/customXml" ds:itemID="{0AD1D168-A829-4B6A-8566-D0AB2044BDA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37.xml><?xml version="1.0" encoding="utf-8"?>
<ds:datastoreItem xmlns:ds="http://schemas.openxmlformats.org/officeDocument/2006/customXml" ds:itemID="{983D8D4E-2EAC-4650-B418-7D37D3F998E1}">
  <ds:schemaRefs>
    <ds:schemaRef ds:uri="http://schemas.microsoft.com/sharepoint/v3/contenttype/forms"/>
  </ds:schemaRefs>
</ds:datastoreItem>
</file>

<file path=customXml/itemProps338.xml><?xml version="1.0" encoding="utf-8"?>
<ds:datastoreItem xmlns:ds="http://schemas.openxmlformats.org/officeDocument/2006/customXml" ds:itemID="{F0214506-DDFD-479C-B58A-6163760DBD1D}">
  <ds:schemaRefs>
    <ds:schemaRef ds:uri="http://schemas.microsoft.com/sharepoint/v3/contenttype/forms"/>
  </ds:schemaRefs>
</ds:datastoreItem>
</file>

<file path=customXml/itemProps339.xml><?xml version="1.0" encoding="utf-8"?>
<ds:datastoreItem xmlns:ds="http://schemas.openxmlformats.org/officeDocument/2006/customXml" ds:itemID="{2FB9A0DA-0660-4791-9D69-6325FFC4506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4.xml><?xml version="1.0" encoding="utf-8"?>
<ds:datastoreItem xmlns:ds="http://schemas.openxmlformats.org/officeDocument/2006/customXml" ds:itemID="{B2312213-9E64-41CD-A9D9-635501F72A6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40.xml><?xml version="1.0" encoding="utf-8"?>
<ds:datastoreItem xmlns:ds="http://schemas.openxmlformats.org/officeDocument/2006/customXml" ds:itemID="{4F4B78F3-B92B-4D0D-8919-12185197BFC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41.xml><?xml version="1.0" encoding="utf-8"?>
<ds:datastoreItem xmlns:ds="http://schemas.openxmlformats.org/officeDocument/2006/customXml" ds:itemID="{BBBF1C58-A6C4-4ADA-AF5D-38B794764B21}">
  <ds:schemaRefs>
    <ds:schemaRef ds:uri="http://schemas.microsoft.com/sharepoint/v3/contenttype/forms"/>
  </ds:schemaRefs>
</ds:datastoreItem>
</file>

<file path=customXml/itemProps342.xml><?xml version="1.0" encoding="utf-8"?>
<ds:datastoreItem xmlns:ds="http://schemas.openxmlformats.org/officeDocument/2006/customXml" ds:itemID="{C08F6013-8C83-4279-A853-85D427093AC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43.xml><?xml version="1.0" encoding="utf-8"?>
<ds:datastoreItem xmlns:ds="http://schemas.openxmlformats.org/officeDocument/2006/customXml" ds:itemID="{0BBCDFBC-B273-4385-BA71-D6D33AD6368C}">
  <ds:schemaRefs>
    <ds:schemaRef ds:uri="http://schemas.microsoft.com/sharepoint/v3/contenttype/forms"/>
  </ds:schemaRefs>
</ds:datastoreItem>
</file>

<file path=customXml/itemProps344.xml><?xml version="1.0" encoding="utf-8"?>
<ds:datastoreItem xmlns:ds="http://schemas.openxmlformats.org/officeDocument/2006/customXml" ds:itemID="{78093FCA-6659-4B35-B650-25C0F6D037B9}">
  <ds:schemaRefs>
    <ds:schemaRef ds:uri="http://schemas.microsoft.com/sharepoint/v3/contenttype/forms"/>
  </ds:schemaRefs>
</ds:datastoreItem>
</file>

<file path=customXml/itemProps345.xml><?xml version="1.0" encoding="utf-8"?>
<ds:datastoreItem xmlns:ds="http://schemas.openxmlformats.org/officeDocument/2006/customXml" ds:itemID="{29BBAE73-8D75-4E1F-919D-04D3F78F4EB9}">
  <ds:schemaRefs>
    <ds:schemaRef ds:uri="http://schemas.microsoft.com/sharepoint/v3/contenttype/forms"/>
  </ds:schemaRefs>
</ds:datastoreItem>
</file>

<file path=customXml/itemProps346.xml><?xml version="1.0" encoding="utf-8"?>
<ds:datastoreItem xmlns:ds="http://schemas.openxmlformats.org/officeDocument/2006/customXml" ds:itemID="{E1EFDF87-FEE5-4D55-AD6A-18327BA3808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47.xml><?xml version="1.0" encoding="utf-8"?>
<ds:datastoreItem xmlns:ds="http://schemas.openxmlformats.org/officeDocument/2006/customXml" ds:itemID="{D7129636-A977-45C2-BA8A-C68F504397B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48.xml><?xml version="1.0" encoding="utf-8"?>
<ds:datastoreItem xmlns:ds="http://schemas.openxmlformats.org/officeDocument/2006/customXml" ds:itemID="{C423B130-C30F-468E-AFDD-79C84A5EF43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49.xml><?xml version="1.0" encoding="utf-8"?>
<ds:datastoreItem xmlns:ds="http://schemas.openxmlformats.org/officeDocument/2006/customXml" ds:itemID="{727E2E76-2242-4BD5-A74B-4D6ECE6557D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5.xml><?xml version="1.0" encoding="utf-8"?>
<ds:datastoreItem xmlns:ds="http://schemas.openxmlformats.org/officeDocument/2006/customXml" ds:itemID="{7784C8A5-3961-4427-8DAE-1123BFD72BB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50.xml><?xml version="1.0" encoding="utf-8"?>
<ds:datastoreItem xmlns:ds="http://schemas.openxmlformats.org/officeDocument/2006/customXml" ds:itemID="{732866E5-E7C9-4745-8EA0-C33AC0C51FC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51.xml><?xml version="1.0" encoding="utf-8"?>
<ds:datastoreItem xmlns:ds="http://schemas.openxmlformats.org/officeDocument/2006/customXml" ds:itemID="{B5548A12-0770-4656-811D-99C6EAD39EB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52.xml><?xml version="1.0" encoding="utf-8"?>
<ds:datastoreItem xmlns:ds="http://schemas.openxmlformats.org/officeDocument/2006/customXml" ds:itemID="{2728DA08-C5FB-4C3F-BF4E-ACF6304ECE43}">
  <ds:schemaRefs>
    <ds:schemaRef ds:uri="http://schemas.microsoft.com/sharepoint/v3/contenttype/forms"/>
  </ds:schemaRefs>
</ds:datastoreItem>
</file>

<file path=customXml/itemProps353.xml><?xml version="1.0" encoding="utf-8"?>
<ds:datastoreItem xmlns:ds="http://schemas.openxmlformats.org/officeDocument/2006/customXml" ds:itemID="{2DD07474-EFAD-4C75-96FC-373E4002FC0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54.xml><?xml version="1.0" encoding="utf-8"?>
<ds:datastoreItem xmlns:ds="http://schemas.openxmlformats.org/officeDocument/2006/customXml" ds:itemID="{287E2B24-E92B-4034-9121-2E1C3F2B982E}">
  <ds:schemaRefs>
    <ds:schemaRef ds:uri="http://schemas.microsoft.com/sharepoint/v3/contenttype/forms"/>
  </ds:schemaRefs>
</ds:datastoreItem>
</file>

<file path=customXml/itemProps355.xml><?xml version="1.0" encoding="utf-8"?>
<ds:datastoreItem xmlns:ds="http://schemas.openxmlformats.org/officeDocument/2006/customXml" ds:itemID="{0BE8D252-244A-4239-BA16-C7A21363EC26}">
  <ds:schemaRefs>
    <ds:schemaRef ds:uri="http://schemas.microsoft.com/sharepoint/v3/contenttype/forms"/>
  </ds:schemaRefs>
</ds:datastoreItem>
</file>

<file path=customXml/itemProps356.xml><?xml version="1.0" encoding="utf-8"?>
<ds:datastoreItem xmlns:ds="http://schemas.openxmlformats.org/officeDocument/2006/customXml" ds:itemID="{A21DB9EB-E0DE-4862-8133-CB4025AB19CD}">
  <ds:schemaRefs>
    <ds:schemaRef ds:uri="http://schemas.microsoft.com/sharepoint/v3/contenttype/forms"/>
  </ds:schemaRefs>
</ds:datastoreItem>
</file>

<file path=customXml/itemProps357.xml><?xml version="1.0" encoding="utf-8"?>
<ds:datastoreItem xmlns:ds="http://schemas.openxmlformats.org/officeDocument/2006/customXml" ds:itemID="{221E880B-203C-4B86-BC42-2FF842C5364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58.xml><?xml version="1.0" encoding="utf-8"?>
<ds:datastoreItem xmlns:ds="http://schemas.openxmlformats.org/officeDocument/2006/customXml" ds:itemID="{CAF178A1-EDFD-4D9A-B68B-70D7EF016BE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59.xml><?xml version="1.0" encoding="utf-8"?>
<ds:datastoreItem xmlns:ds="http://schemas.openxmlformats.org/officeDocument/2006/customXml" ds:itemID="{9F8800C3-BEAA-4DE1-9619-D1AEC1F75D1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6.xml><?xml version="1.0" encoding="utf-8"?>
<ds:datastoreItem xmlns:ds="http://schemas.openxmlformats.org/officeDocument/2006/customXml" ds:itemID="{13DA6D82-866D-42BD-8FCB-1EE0E116F278}">
  <ds:schemaRefs>
    <ds:schemaRef ds:uri="http://schemas.microsoft.com/sharepoint/v3/contenttype/forms"/>
  </ds:schemaRefs>
</ds:datastoreItem>
</file>

<file path=customXml/itemProps360.xml><?xml version="1.0" encoding="utf-8"?>
<ds:datastoreItem xmlns:ds="http://schemas.openxmlformats.org/officeDocument/2006/customXml" ds:itemID="{C404FBDD-A535-402B-8754-1882FD220CC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1.xml><?xml version="1.0" encoding="utf-8"?>
<ds:datastoreItem xmlns:ds="http://schemas.openxmlformats.org/officeDocument/2006/customXml" ds:itemID="{18766C61-159C-4EE1-9D9D-6CAE25FD808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2.xml><?xml version="1.0" encoding="utf-8"?>
<ds:datastoreItem xmlns:ds="http://schemas.openxmlformats.org/officeDocument/2006/customXml" ds:itemID="{E843AF1E-256B-4B6F-92FF-771473D9844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63.xml><?xml version="1.0" encoding="utf-8"?>
<ds:datastoreItem xmlns:ds="http://schemas.openxmlformats.org/officeDocument/2006/customXml" ds:itemID="{DA23A72C-8721-4DD4-8B1E-26B31EF44AD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4.xml><?xml version="1.0" encoding="utf-8"?>
<ds:datastoreItem xmlns:ds="http://schemas.openxmlformats.org/officeDocument/2006/customXml" ds:itemID="{F7D3E69B-2D4E-407D-8347-56DB6E55B73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5.xml><?xml version="1.0" encoding="utf-8"?>
<ds:datastoreItem xmlns:ds="http://schemas.openxmlformats.org/officeDocument/2006/customXml" ds:itemID="{4A5E3887-CA73-4A56-B9A4-61A79648160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6.xml><?xml version="1.0" encoding="utf-8"?>
<ds:datastoreItem xmlns:ds="http://schemas.openxmlformats.org/officeDocument/2006/customXml" ds:itemID="{1B4A1228-B3C4-4620-8A3E-4AC5C59D42F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7.xml><?xml version="1.0" encoding="utf-8"?>
<ds:datastoreItem xmlns:ds="http://schemas.openxmlformats.org/officeDocument/2006/customXml" ds:itemID="{6C12DD7D-DE27-4655-B4C6-8A348FBF4E6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8.xml><?xml version="1.0" encoding="utf-8"?>
<ds:datastoreItem xmlns:ds="http://schemas.openxmlformats.org/officeDocument/2006/customXml" ds:itemID="{C5B5462E-43F1-4BF1-9B0D-24BA9AAA24D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9.xml><?xml version="1.0" encoding="utf-8"?>
<ds:datastoreItem xmlns:ds="http://schemas.openxmlformats.org/officeDocument/2006/customXml" ds:itemID="{43B180E2-510B-4C4C-9965-828A23F9299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7.xml><?xml version="1.0" encoding="utf-8"?>
<ds:datastoreItem xmlns:ds="http://schemas.openxmlformats.org/officeDocument/2006/customXml" ds:itemID="{E0693E28-E379-491D-BF14-F8DAD7F59E0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70.xml><?xml version="1.0" encoding="utf-8"?>
<ds:datastoreItem xmlns:ds="http://schemas.openxmlformats.org/officeDocument/2006/customXml" ds:itemID="{7F039B46-2BB9-46B5-AEA6-B5EB7FDB5BE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71.xml><?xml version="1.0" encoding="utf-8"?>
<ds:datastoreItem xmlns:ds="http://schemas.openxmlformats.org/officeDocument/2006/customXml" ds:itemID="{DDB3E039-9E15-4FF3-A4AD-01454DB3037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72.xml><?xml version="1.0" encoding="utf-8"?>
<ds:datastoreItem xmlns:ds="http://schemas.openxmlformats.org/officeDocument/2006/customXml" ds:itemID="{6E47E8A7-EF3F-41ED-B51E-2ECBED02C5AD}">
  <ds:schemaRefs>
    <ds:schemaRef ds:uri="http://schemas.microsoft.com/sharepoint/v3/contenttype/forms"/>
  </ds:schemaRefs>
</ds:datastoreItem>
</file>

<file path=customXml/itemProps373.xml><?xml version="1.0" encoding="utf-8"?>
<ds:datastoreItem xmlns:ds="http://schemas.openxmlformats.org/officeDocument/2006/customXml" ds:itemID="{00FFC877-D2A5-4B04-88A3-D3B81BDF45F3}">
  <ds:schemaRefs>
    <ds:schemaRef ds:uri="http://schemas.microsoft.com/sharepoint/v3/contenttype/forms"/>
  </ds:schemaRefs>
</ds:datastoreItem>
</file>

<file path=customXml/itemProps374.xml><?xml version="1.0" encoding="utf-8"?>
<ds:datastoreItem xmlns:ds="http://schemas.openxmlformats.org/officeDocument/2006/customXml" ds:itemID="{AB7F70E4-3D9D-41E9-A1AF-16BD2543E9A7}">
  <ds:schemaRefs>
    <ds:schemaRef ds:uri="http://schemas.microsoft.com/sharepoint/v3/contenttype/forms"/>
  </ds:schemaRefs>
</ds:datastoreItem>
</file>

<file path=customXml/itemProps375.xml><?xml version="1.0" encoding="utf-8"?>
<ds:datastoreItem xmlns:ds="http://schemas.openxmlformats.org/officeDocument/2006/customXml" ds:itemID="{04EF27C4-66CF-4119-9C07-90A19C58086E}">
  <ds:schemaRefs>
    <ds:schemaRef ds:uri="http://schemas.microsoft.com/sharepoint/v3/contenttype/forms"/>
  </ds:schemaRefs>
</ds:datastoreItem>
</file>

<file path=customXml/itemProps376.xml><?xml version="1.0" encoding="utf-8"?>
<ds:datastoreItem xmlns:ds="http://schemas.openxmlformats.org/officeDocument/2006/customXml" ds:itemID="{969AC453-09AE-4558-AD12-8E105F969168}">
  <ds:schemaRefs>
    <ds:schemaRef ds:uri="http://schemas.microsoft.com/sharepoint/v3/contenttype/forms"/>
  </ds:schemaRefs>
</ds:datastoreItem>
</file>

<file path=customXml/itemProps377.xml><?xml version="1.0" encoding="utf-8"?>
<ds:datastoreItem xmlns:ds="http://schemas.openxmlformats.org/officeDocument/2006/customXml" ds:itemID="{0F2C7FBD-2C41-4B18-ABF2-FFD012CCDF5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78.xml><?xml version="1.0" encoding="utf-8"?>
<ds:datastoreItem xmlns:ds="http://schemas.openxmlformats.org/officeDocument/2006/customXml" ds:itemID="{E6681548-7A8E-441B-9754-B5E8B0FAA57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79.xml><?xml version="1.0" encoding="utf-8"?>
<ds:datastoreItem xmlns:ds="http://schemas.openxmlformats.org/officeDocument/2006/customXml" ds:itemID="{7C9226A6-3963-4D16-B4FE-1FA5A06FA212}">
  <ds:schemaRefs>
    <ds:schemaRef ds:uri="http://schemas.microsoft.com/sharepoint/v3/contenttype/forms"/>
  </ds:schemaRefs>
</ds:datastoreItem>
</file>

<file path=customXml/itemProps38.xml><?xml version="1.0" encoding="utf-8"?>
<ds:datastoreItem xmlns:ds="http://schemas.openxmlformats.org/officeDocument/2006/customXml" ds:itemID="{5366BD6D-BD3A-4FD6-B8A6-0194D2DA76A2}">
  <ds:schemaRefs>
    <ds:schemaRef ds:uri="http://schemas.microsoft.com/sharepoint/v3/contenttype/forms"/>
  </ds:schemaRefs>
</ds:datastoreItem>
</file>

<file path=customXml/itemProps380.xml><?xml version="1.0" encoding="utf-8"?>
<ds:datastoreItem xmlns:ds="http://schemas.openxmlformats.org/officeDocument/2006/customXml" ds:itemID="{35E39630-8365-40F3-889A-4949ACFAAAC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81.xml><?xml version="1.0" encoding="utf-8"?>
<ds:datastoreItem xmlns:ds="http://schemas.openxmlformats.org/officeDocument/2006/customXml" ds:itemID="{28DC91B6-7F2A-46B6-8CB6-3017FF40B32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82.xml><?xml version="1.0" encoding="utf-8"?>
<ds:datastoreItem xmlns:ds="http://schemas.openxmlformats.org/officeDocument/2006/customXml" ds:itemID="{2D72D413-E128-4039-BC8B-DEC3A64F8627}">
  <ds:schemaRefs>
    <ds:schemaRef ds:uri="http://schemas.microsoft.com/sharepoint/v3/contenttype/forms"/>
  </ds:schemaRefs>
</ds:datastoreItem>
</file>

<file path=customXml/itemProps383.xml><?xml version="1.0" encoding="utf-8"?>
<ds:datastoreItem xmlns:ds="http://schemas.openxmlformats.org/officeDocument/2006/customXml" ds:itemID="{7DE1632E-7FEA-40DC-8CF5-43B9FE6A9BA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84.xml><?xml version="1.0" encoding="utf-8"?>
<ds:datastoreItem xmlns:ds="http://schemas.openxmlformats.org/officeDocument/2006/customXml" ds:itemID="{DF655EB3-9B2D-45F3-9F94-5DCA24870F17}">
  <ds:schemaRefs>
    <ds:schemaRef ds:uri="http://schemas.microsoft.com/sharepoint/v3/contenttype/forms"/>
  </ds:schemaRefs>
</ds:datastoreItem>
</file>

<file path=customXml/itemProps385.xml><?xml version="1.0" encoding="utf-8"?>
<ds:datastoreItem xmlns:ds="http://schemas.openxmlformats.org/officeDocument/2006/customXml" ds:itemID="{60FB47BF-AF57-4A5F-BD4C-FCB6C810A88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86.xml><?xml version="1.0" encoding="utf-8"?>
<ds:datastoreItem xmlns:ds="http://schemas.openxmlformats.org/officeDocument/2006/customXml" ds:itemID="{A9DD4CBE-A2C3-42F5-8AAE-19C077EBBD8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87.xml><?xml version="1.0" encoding="utf-8"?>
<ds:datastoreItem xmlns:ds="http://schemas.openxmlformats.org/officeDocument/2006/customXml" ds:itemID="{83432615-F00F-4C09-B7B5-5C5C906A798F}">
  <ds:schemaRefs>
    <ds:schemaRef ds:uri="http://schemas.microsoft.com/sharepoint/v3/contenttype/forms"/>
  </ds:schemaRefs>
</ds:datastoreItem>
</file>

<file path=customXml/itemProps388.xml><?xml version="1.0" encoding="utf-8"?>
<ds:datastoreItem xmlns:ds="http://schemas.openxmlformats.org/officeDocument/2006/customXml" ds:itemID="{BDF07F85-6EBF-428F-B9D9-7BE7EAA2DAD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89.xml><?xml version="1.0" encoding="utf-8"?>
<ds:datastoreItem xmlns:ds="http://schemas.openxmlformats.org/officeDocument/2006/customXml" ds:itemID="{CCA8753D-5245-4928-B5B8-213BC438FFC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9.xml><?xml version="1.0" encoding="utf-8"?>
<ds:datastoreItem xmlns:ds="http://schemas.openxmlformats.org/officeDocument/2006/customXml" ds:itemID="{FFBAE669-1479-4070-BFC6-8A6653FCBF8E}">
  <ds:schemaRefs>
    <ds:schemaRef ds:uri="http://schemas.microsoft.com/sharepoint/v3/contenttype/forms"/>
  </ds:schemaRefs>
</ds:datastoreItem>
</file>

<file path=customXml/itemProps390.xml><?xml version="1.0" encoding="utf-8"?>
<ds:datastoreItem xmlns:ds="http://schemas.openxmlformats.org/officeDocument/2006/customXml" ds:itemID="{08CFAD91-42BC-4340-B2DA-BAA5931EF0D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91.xml><?xml version="1.0" encoding="utf-8"?>
<ds:datastoreItem xmlns:ds="http://schemas.openxmlformats.org/officeDocument/2006/customXml" ds:itemID="{6BE4FD94-6EC6-473D-962B-9D40607E947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92.xml><?xml version="1.0" encoding="utf-8"?>
<ds:datastoreItem xmlns:ds="http://schemas.openxmlformats.org/officeDocument/2006/customXml" ds:itemID="{346DA93E-5FDB-4E0D-A9A1-2B1CBB5265F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93.xml><?xml version="1.0" encoding="utf-8"?>
<ds:datastoreItem xmlns:ds="http://schemas.openxmlformats.org/officeDocument/2006/customXml" ds:itemID="{4928D948-6A36-4054-B12F-1B280B2E948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94.xml><?xml version="1.0" encoding="utf-8"?>
<ds:datastoreItem xmlns:ds="http://schemas.openxmlformats.org/officeDocument/2006/customXml" ds:itemID="{32BEBC05-8E2D-488A-9F0D-3502D875FADF}">
  <ds:schemaRefs>
    <ds:schemaRef ds:uri="http://schemas.microsoft.com/sharepoint/v3/contenttype/forms"/>
  </ds:schemaRefs>
</ds:datastoreItem>
</file>

<file path=customXml/itemProps395.xml><?xml version="1.0" encoding="utf-8"?>
<ds:datastoreItem xmlns:ds="http://schemas.openxmlformats.org/officeDocument/2006/customXml" ds:itemID="{2CC2706B-EA18-419E-A977-21865E62C97B}">
  <ds:schemaRefs>
    <ds:schemaRef ds:uri="http://schemas.microsoft.com/sharepoint/v3/contenttype/forms"/>
  </ds:schemaRefs>
</ds:datastoreItem>
</file>

<file path=customXml/itemProps396.xml><?xml version="1.0" encoding="utf-8"?>
<ds:datastoreItem xmlns:ds="http://schemas.openxmlformats.org/officeDocument/2006/customXml" ds:itemID="{3577A0FB-CDD9-43C0-879E-BD44AED670B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97.xml><?xml version="1.0" encoding="utf-8"?>
<ds:datastoreItem xmlns:ds="http://schemas.openxmlformats.org/officeDocument/2006/customXml" ds:itemID="{D1647AC2-9B77-4BCF-BF87-1B5194084D3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98.xml><?xml version="1.0" encoding="utf-8"?>
<ds:datastoreItem xmlns:ds="http://schemas.openxmlformats.org/officeDocument/2006/customXml" ds:itemID="{EF87F226-0941-40DC-9F11-6C5190164FAD}">
  <ds:schemaRefs>
    <ds:schemaRef ds:uri="http://schemas.microsoft.com/sharepoint/v3/contenttype/forms"/>
  </ds:schemaRefs>
</ds:datastoreItem>
</file>

<file path=customXml/itemProps399.xml><?xml version="1.0" encoding="utf-8"?>
<ds:datastoreItem xmlns:ds="http://schemas.openxmlformats.org/officeDocument/2006/customXml" ds:itemID="{2934B857-03EF-4D10-AD79-A20C054A894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F7B90B82-819B-49E4-8C2C-F45AF93B6AD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0.xml><?xml version="1.0" encoding="utf-8"?>
<ds:datastoreItem xmlns:ds="http://schemas.openxmlformats.org/officeDocument/2006/customXml" ds:itemID="{B33A1631-5DEE-425E-B844-B0DCAD6A811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00.xml><?xml version="1.0" encoding="utf-8"?>
<ds:datastoreItem xmlns:ds="http://schemas.openxmlformats.org/officeDocument/2006/customXml" ds:itemID="{0D436AE1-EFC6-4E46-A8F7-4AA42ED0C2F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01.xml><?xml version="1.0" encoding="utf-8"?>
<ds:datastoreItem xmlns:ds="http://schemas.openxmlformats.org/officeDocument/2006/customXml" ds:itemID="{1F6F6D4E-517A-475E-9950-1A681359E44F}">
  <ds:schemaRefs>
    <ds:schemaRef ds:uri="http://schemas.microsoft.com/sharepoint/v3/contenttype/forms"/>
  </ds:schemaRefs>
</ds:datastoreItem>
</file>

<file path=customXml/itemProps402.xml><?xml version="1.0" encoding="utf-8"?>
<ds:datastoreItem xmlns:ds="http://schemas.openxmlformats.org/officeDocument/2006/customXml" ds:itemID="{317C2A36-A02F-4A16-A40A-38965DD9A21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03.xml><?xml version="1.0" encoding="utf-8"?>
<ds:datastoreItem xmlns:ds="http://schemas.openxmlformats.org/officeDocument/2006/customXml" ds:itemID="{4A3AB865-DD99-4A47-8F21-7A52A807F74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04.xml><?xml version="1.0" encoding="utf-8"?>
<ds:datastoreItem xmlns:ds="http://schemas.openxmlformats.org/officeDocument/2006/customXml" ds:itemID="{B44DD9BA-AD3D-428C-BEE7-7EC848A202E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05.xml><?xml version="1.0" encoding="utf-8"?>
<ds:datastoreItem xmlns:ds="http://schemas.openxmlformats.org/officeDocument/2006/customXml" ds:itemID="{6487B3A1-05AA-46A1-B828-9832C53F1FE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06.xml><?xml version="1.0" encoding="utf-8"?>
<ds:datastoreItem xmlns:ds="http://schemas.openxmlformats.org/officeDocument/2006/customXml" ds:itemID="{96A40A3D-C3E6-4892-AFEA-B3950A4D9AE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07.xml><?xml version="1.0" encoding="utf-8"?>
<ds:datastoreItem xmlns:ds="http://schemas.openxmlformats.org/officeDocument/2006/customXml" ds:itemID="{EA370EAB-0C9B-4611-A0F0-94E187577980}">
  <ds:schemaRefs>
    <ds:schemaRef ds:uri="http://schemas.microsoft.com/sharepoint/v3/contenttype/forms"/>
  </ds:schemaRefs>
</ds:datastoreItem>
</file>

<file path=customXml/itemProps408.xml><?xml version="1.0" encoding="utf-8"?>
<ds:datastoreItem xmlns:ds="http://schemas.openxmlformats.org/officeDocument/2006/customXml" ds:itemID="{0B04B03A-D0AA-4CAC-8FC7-9DBF59A1267B}">
  <ds:schemaRefs>
    <ds:schemaRef ds:uri="http://schemas.microsoft.com/sharepoint/v3/contenttype/forms"/>
  </ds:schemaRefs>
</ds:datastoreItem>
</file>

<file path=customXml/itemProps409.xml><?xml version="1.0" encoding="utf-8"?>
<ds:datastoreItem xmlns:ds="http://schemas.openxmlformats.org/officeDocument/2006/customXml" ds:itemID="{3EF4E2E7-E7C1-4B3B-A4EE-8E2A7E6059F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1.xml><?xml version="1.0" encoding="utf-8"?>
<ds:datastoreItem xmlns:ds="http://schemas.openxmlformats.org/officeDocument/2006/customXml" ds:itemID="{592D83B5-DC76-493B-8C3D-472A0C7CB2F9}">
  <ds:schemaRefs>
    <ds:schemaRef ds:uri="http://schemas.microsoft.com/sharepoint/v3/contenttype/forms"/>
  </ds:schemaRefs>
</ds:datastoreItem>
</file>

<file path=customXml/itemProps410.xml><?xml version="1.0" encoding="utf-8"?>
<ds:datastoreItem xmlns:ds="http://schemas.openxmlformats.org/officeDocument/2006/customXml" ds:itemID="{218B2B46-4D85-4F3A-A5E2-0B5CF1E5B90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11.xml><?xml version="1.0" encoding="utf-8"?>
<ds:datastoreItem xmlns:ds="http://schemas.openxmlformats.org/officeDocument/2006/customXml" ds:itemID="{3D02F5F8-E40D-45F6-BB31-37AC1EFEC8F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12.xml><?xml version="1.0" encoding="utf-8"?>
<ds:datastoreItem xmlns:ds="http://schemas.openxmlformats.org/officeDocument/2006/customXml" ds:itemID="{ADBA8671-EF64-460C-B191-A3DA577A93A6}">
  <ds:schemaRefs>
    <ds:schemaRef ds:uri="http://schemas.microsoft.com/sharepoint/v3/contenttype/forms"/>
  </ds:schemaRefs>
</ds:datastoreItem>
</file>

<file path=customXml/itemProps413.xml><?xml version="1.0" encoding="utf-8"?>
<ds:datastoreItem xmlns:ds="http://schemas.openxmlformats.org/officeDocument/2006/customXml" ds:itemID="{806707CA-3A62-4F20-AF86-034AE66B0082}">
  <ds:schemaRefs>
    <ds:schemaRef ds:uri="http://schemas.microsoft.com/sharepoint/v3/contenttype/forms"/>
  </ds:schemaRefs>
</ds:datastoreItem>
</file>

<file path=customXml/itemProps414.xml><?xml version="1.0" encoding="utf-8"?>
<ds:datastoreItem xmlns:ds="http://schemas.openxmlformats.org/officeDocument/2006/customXml" ds:itemID="{9C41C525-B9B8-4202-8E7D-772F5168817D}">
  <ds:schemaRefs>
    <ds:schemaRef ds:uri="http://schemas.microsoft.com/sharepoint/v3/contenttype/forms"/>
  </ds:schemaRefs>
</ds:datastoreItem>
</file>

<file path=customXml/itemProps415.xml><?xml version="1.0" encoding="utf-8"?>
<ds:datastoreItem xmlns:ds="http://schemas.openxmlformats.org/officeDocument/2006/customXml" ds:itemID="{09DAB9AD-783D-4B63-87DA-D5F7006C1BE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16.xml><?xml version="1.0" encoding="utf-8"?>
<ds:datastoreItem xmlns:ds="http://schemas.openxmlformats.org/officeDocument/2006/customXml" ds:itemID="{8FB8CD90-CA0D-49FE-955A-4ADCEF63046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17.xml><?xml version="1.0" encoding="utf-8"?>
<ds:datastoreItem xmlns:ds="http://schemas.openxmlformats.org/officeDocument/2006/customXml" ds:itemID="{D902F717-E412-4A15-B6C9-F8A85988B51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18.xml><?xml version="1.0" encoding="utf-8"?>
<ds:datastoreItem xmlns:ds="http://schemas.openxmlformats.org/officeDocument/2006/customXml" ds:itemID="{DBC2D7C3-AF8C-4EAD-A669-1F8CB69248C2}">
  <ds:schemaRefs>
    <ds:schemaRef ds:uri="http://schemas.microsoft.com/sharepoint/v3/contenttype/forms"/>
  </ds:schemaRefs>
</ds:datastoreItem>
</file>

<file path=customXml/itemProps419.xml><?xml version="1.0" encoding="utf-8"?>
<ds:datastoreItem xmlns:ds="http://schemas.openxmlformats.org/officeDocument/2006/customXml" ds:itemID="{6803AF2F-EBB9-41F5-B3C0-5777AB70657C}">
  <ds:schemaRefs>
    <ds:schemaRef ds:uri="http://schemas.microsoft.com/sharepoint/v3/contenttype/forms"/>
  </ds:schemaRefs>
</ds:datastoreItem>
</file>

<file path=customXml/itemProps42.xml><?xml version="1.0" encoding="utf-8"?>
<ds:datastoreItem xmlns:ds="http://schemas.openxmlformats.org/officeDocument/2006/customXml" ds:itemID="{8DDFA5B8-A2C4-49C0-957B-A022085AEC8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20.xml><?xml version="1.0" encoding="utf-8"?>
<ds:datastoreItem xmlns:ds="http://schemas.openxmlformats.org/officeDocument/2006/customXml" ds:itemID="{6F940096-6524-43D9-8E8A-A8AC89D7786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21.xml><?xml version="1.0" encoding="utf-8"?>
<ds:datastoreItem xmlns:ds="http://schemas.openxmlformats.org/officeDocument/2006/customXml" ds:itemID="{753B0C64-B0A7-4373-AD49-E7D977E2468C}">
  <ds:schemaRefs>
    <ds:schemaRef ds:uri="http://schemas.microsoft.com/sharepoint/v3/contenttype/forms"/>
  </ds:schemaRefs>
</ds:datastoreItem>
</file>

<file path=customXml/itemProps422.xml><?xml version="1.0" encoding="utf-8"?>
<ds:datastoreItem xmlns:ds="http://schemas.openxmlformats.org/officeDocument/2006/customXml" ds:itemID="{B76FC969-83DB-4C8C-9238-35BAE612B70B}">
  <ds:schemaRefs>
    <ds:schemaRef ds:uri="http://schemas.microsoft.com/sharepoint/v3/contenttype/forms"/>
  </ds:schemaRefs>
</ds:datastoreItem>
</file>

<file path=customXml/itemProps423.xml><?xml version="1.0" encoding="utf-8"?>
<ds:datastoreItem xmlns:ds="http://schemas.openxmlformats.org/officeDocument/2006/customXml" ds:itemID="{9C2BABAB-55B9-42D4-ABCE-5F697CA9148A}">
  <ds:schemaRefs>
    <ds:schemaRef ds:uri="http://schemas.microsoft.com/sharepoint/v3/contenttype/forms"/>
  </ds:schemaRefs>
</ds:datastoreItem>
</file>

<file path=customXml/itemProps424.xml><?xml version="1.0" encoding="utf-8"?>
<ds:datastoreItem xmlns:ds="http://schemas.openxmlformats.org/officeDocument/2006/customXml" ds:itemID="{6DFADFB6-15CD-45D4-9A6B-16945BF9C82C}">
  <ds:schemaRefs>
    <ds:schemaRef ds:uri="http://schemas.microsoft.com/sharepoint/v3/contenttype/forms"/>
  </ds:schemaRefs>
</ds:datastoreItem>
</file>

<file path=customXml/itemProps425.xml><?xml version="1.0" encoding="utf-8"?>
<ds:datastoreItem xmlns:ds="http://schemas.openxmlformats.org/officeDocument/2006/customXml" ds:itemID="{C23DCEEF-081E-4F11-B9ED-98F8434ABB2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26.xml><?xml version="1.0" encoding="utf-8"?>
<ds:datastoreItem xmlns:ds="http://schemas.openxmlformats.org/officeDocument/2006/customXml" ds:itemID="{1387F251-87B7-4568-8A1A-528D85E2166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27.xml><?xml version="1.0" encoding="utf-8"?>
<ds:datastoreItem xmlns:ds="http://schemas.openxmlformats.org/officeDocument/2006/customXml" ds:itemID="{B5CD0986-75F3-4FDA-87EA-337F121E2F0F}">
  <ds:schemaRefs>
    <ds:schemaRef ds:uri="http://schemas.microsoft.com/sharepoint/v3/contenttype/forms"/>
  </ds:schemaRefs>
</ds:datastoreItem>
</file>

<file path=customXml/itemProps428.xml><?xml version="1.0" encoding="utf-8"?>
<ds:datastoreItem xmlns:ds="http://schemas.openxmlformats.org/officeDocument/2006/customXml" ds:itemID="{E051B2B3-B229-4217-8C2A-9B30544ADCB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29.xml><?xml version="1.0" encoding="utf-8"?>
<ds:datastoreItem xmlns:ds="http://schemas.openxmlformats.org/officeDocument/2006/customXml" ds:itemID="{C012278C-D48D-4FE0-B62A-3EBBC7E2E4FE}">
  <ds:schemaRefs>
    <ds:schemaRef ds:uri="http://schemas.microsoft.com/sharepoint/v3/contenttype/forms"/>
  </ds:schemaRefs>
</ds:datastoreItem>
</file>

<file path=customXml/itemProps43.xml><?xml version="1.0" encoding="utf-8"?>
<ds:datastoreItem xmlns:ds="http://schemas.openxmlformats.org/officeDocument/2006/customXml" ds:itemID="{78E85822-9EC8-4616-827A-75873ADEEE1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30.xml><?xml version="1.0" encoding="utf-8"?>
<ds:datastoreItem xmlns:ds="http://schemas.openxmlformats.org/officeDocument/2006/customXml" ds:itemID="{3410C809-FCCC-4FA9-8D2F-28E8B2F6582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31.xml><?xml version="1.0" encoding="utf-8"?>
<ds:datastoreItem xmlns:ds="http://schemas.openxmlformats.org/officeDocument/2006/customXml" ds:itemID="{337DF900-EFDB-4FB4-B5DE-76650265B2B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32.xml><?xml version="1.0" encoding="utf-8"?>
<ds:datastoreItem xmlns:ds="http://schemas.openxmlformats.org/officeDocument/2006/customXml" ds:itemID="{20C10DEF-8DE4-48DB-A3CC-7413ADED6D44}">
  <ds:schemaRefs>
    <ds:schemaRef ds:uri="http://schemas.microsoft.com/sharepoint/v3/contenttype/forms"/>
  </ds:schemaRefs>
</ds:datastoreItem>
</file>

<file path=customXml/itemProps433.xml><?xml version="1.0" encoding="utf-8"?>
<ds:datastoreItem xmlns:ds="http://schemas.openxmlformats.org/officeDocument/2006/customXml" ds:itemID="{D80CB0DC-D578-49D9-BE1E-63404221F1C6}">
  <ds:schemaRefs>
    <ds:schemaRef ds:uri="http://schemas.microsoft.com/sharepoint/v3/contenttype/forms"/>
  </ds:schemaRefs>
</ds:datastoreItem>
</file>

<file path=customXml/itemProps434.xml><?xml version="1.0" encoding="utf-8"?>
<ds:datastoreItem xmlns:ds="http://schemas.openxmlformats.org/officeDocument/2006/customXml" ds:itemID="{C7D7A391-6C32-4D72-B248-896D4FA75BD1}">
  <ds:schemaRefs>
    <ds:schemaRef ds:uri="http://schemas.microsoft.com/sharepoint/v3/contenttype/forms"/>
  </ds:schemaRefs>
</ds:datastoreItem>
</file>

<file path=customXml/itemProps435.xml><?xml version="1.0" encoding="utf-8"?>
<ds:datastoreItem xmlns:ds="http://schemas.openxmlformats.org/officeDocument/2006/customXml" ds:itemID="{CB6EF522-0A32-4677-A876-21906E5ECB2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36.xml><?xml version="1.0" encoding="utf-8"?>
<ds:datastoreItem xmlns:ds="http://schemas.openxmlformats.org/officeDocument/2006/customXml" ds:itemID="{18444950-97C8-45B8-9D7F-598112389295}">
  <ds:schemaRefs>
    <ds:schemaRef ds:uri="http://schemas.microsoft.com/sharepoint/v3/contenttype/forms"/>
  </ds:schemaRefs>
</ds:datastoreItem>
</file>

<file path=customXml/itemProps437.xml><?xml version="1.0" encoding="utf-8"?>
<ds:datastoreItem xmlns:ds="http://schemas.openxmlformats.org/officeDocument/2006/customXml" ds:itemID="{2C335A8E-CEFD-4E2A-B094-0355B34CB67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38.xml><?xml version="1.0" encoding="utf-8"?>
<ds:datastoreItem xmlns:ds="http://schemas.openxmlformats.org/officeDocument/2006/customXml" ds:itemID="{022DB898-6317-4DA3-965F-F962563C213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39.xml><?xml version="1.0" encoding="utf-8"?>
<ds:datastoreItem xmlns:ds="http://schemas.openxmlformats.org/officeDocument/2006/customXml" ds:itemID="{3C55F262-615C-4B50-896B-D35538D752C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4.xml><?xml version="1.0" encoding="utf-8"?>
<ds:datastoreItem xmlns:ds="http://schemas.openxmlformats.org/officeDocument/2006/customXml" ds:itemID="{ADC5A607-DAFD-44C7-A95E-6CFDEA477A1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40.xml><?xml version="1.0" encoding="utf-8"?>
<ds:datastoreItem xmlns:ds="http://schemas.openxmlformats.org/officeDocument/2006/customXml" ds:itemID="{C002DCB9-9C87-43CE-87C2-EBB166B76B0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41.xml><?xml version="1.0" encoding="utf-8"?>
<ds:datastoreItem xmlns:ds="http://schemas.openxmlformats.org/officeDocument/2006/customXml" ds:itemID="{6EB5F6F8-1459-4B6B-9415-E436846580DF}">
  <ds:schemaRefs>
    <ds:schemaRef ds:uri="http://schemas.microsoft.com/sharepoint/v3/contenttype/forms"/>
  </ds:schemaRefs>
</ds:datastoreItem>
</file>

<file path=customXml/itemProps442.xml><?xml version="1.0" encoding="utf-8"?>
<ds:datastoreItem xmlns:ds="http://schemas.openxmlformats.org/officeDocument/2006/customXml" ds:itemID="{46145BBA-0B84-4793-838D-351D1297C13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43.xml><?xml version="1.0" encoding="utf-8"?>
<ds:datastoreItem xmlns:ds="http://schemas.openxmlformats.org/officeDocument/2006/customXml" ds:itemID="{920331CC-26BB-4039-BD5A-4A1F0024B2F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44.xml><?xml version="1.0" encoding="utf-8"?>
<ds:datastoreItem xmlns:ds="http://schemas.openxmlformats.org/officeDocument/2006/customXml" ds:itemID="{A6EE5E80-29E4-40CB-A668-A933B4F274F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45.xml><?xml version="1.0" encoding="utf-8"?>
<ds:datastoreItem xmlns:ds="http://schemas.openxmlformats.org/officeDocument/2006/customXml" ds:itemID="{B887DE66-F78E-4665-8F7D-88552D509B6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46.xml><?xml version="1.0" encoding="utf-8"?>
<ds:datastoreItem xmlns:ds="http://schemas.openxmlformats.org/officeDocument/2006/customXml" ds:itemID="{A410DF14-7A9D-4E56-BBED-6C35304DDE6B}">
  <ds:schemaRefs>
    <ds:schemaRef ds:uri="http://schemas.microsoft.com/sharepoint/v3/contenttype/forms"/>
  </ds:schemaRefs>
</ds:datastoreItem>
</file>

<file path=customXml/itemProps447.xml><?xml version="1.0" encoding="utf-8"?>
<ds:datastoreItem xmlns:ds="http://schemas.openxmlformats.org/officeDocument/2006/customXml" ds:itemID="{853CDD24-2F37-431D-BE61-7F896A1F1CA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48.xml><?xml version="1.0" encoding="utf-8"?>
<ds:datastoreItem xmlns:ds="http://schemas.openxmlformats.org/officeDocument/2006/customXml" ds:itemID="{8AA69D8E-570C-4340-BC78-AAAF84AE7A0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49.xml><?xml version="1.0" encoding="utf-8"?>
<ds:datastoreItem xmlns:ds="http://schemas.openxmlformats.org/officeDocument/2006/customXml" ds:itemID="{D13EF1AA-8658-435B-BD1E-275A93E0E8A0}">
  <ds:schemaRefs>
    <ds:schemaRef ds:uri="http://schemas.microsoft.com/sharepoint/v3/contenttype/forms"/>
  </ds:schemaRefs>
</ds:datastoreItem>
</file>

<file path=customXml/itemProps45.xml><?xml version="1.0" encoding="utf-8"?>
<ds:datastoreItem xmlns:ds="http://schemas.openxmlformats.org/officeDocument/2006/customXml" ds:itemID="{45804248-26C0-445E-B17D-9BB4961C33E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50.xml><?xml version="1.0" encoding="utf-8"?>
<ds:datastoreItem xmlns:ds="http://schemas.openxmlformats.org/officeDocument/2006/customXml" ds:itemID="{806DC9D7-DEEA-4CF5-9A06-825CCF9E6ED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51.xml><?xml version="1.0" encoding="utf-8"?>
<ds:datastoreItem xmlns:ds="http://schemas.openxmlformats.org/officeDocument/2006/customXml" ds:itemID="{24B4EAA4-622D-44D0-AA55-274DD2D724B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52.xml><?xml version="1.0" encoding="utf-8"?>
<ds:datastoreItem xmlns:ds="http://schemas.openxmlformats.org/officeDocument/2006/customXml" ds:itemID="{5F466F9B-A67E-48FF-B937-2D886D25A97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53.xml><?xml version="1.0" encoding="utf-8"?>
<ds:datastoreItem xmlns:ds="http://schemas.openxmlformats.org/officeDocument/2006/customXml" ds:itemID="{A3B0F7FA-6A85-4750-8712-2CE06633B7B4}">
  <ds:schemaRefs>
    <ds:schemaRef ds:uri="http://schemas.microsoft.com/sharepoint/v3/contenttype/forms"/>
  </ds:schemaRefs>
</ds:datastoreItem>
</file>

<file path=customXml/itemProps454.xml><?xml version="1.0" encoding="utf-8"?>
<ds:datastoreItem xmlns:ds="http://schemas.openxmlformats.org/officeDocument/2006/customXml" ds:itemID="{3D7F9799-9AA2-4EB7-BEEA-E7A2CBF27CA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55.xml><?xml version="1.0" encoding="utf-8"?>
<ds:datastoreItem xmlns:ds="http://schemas.openxmlformats.org/officeDocument/2006/customXml" ds:itemID="{1951FE58-24C5-4D03-A55B-D4FC65FBDBB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56.xml><?xml version="1.0" encoding="utf-8"?>
<ds:datastoreItem xmlns:ds="http://schemas.openxmlformats.org/officeDocument/2006/customXml" ds:itemID="{2960943F-55ED-45B6-BD59-6D35B9D3F3D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57.xml><?xml version="1.0" encoding="utf-8"?>
<ds:datastoreItem xmlns:ds="http://schemas.openxmlformats.org/officeDocument/2006/customXml" ds:itemID="{20EAEB32-E7C8-4EF4-96D3-6F8C1001A84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58.xml><?xml version="1.0" encoding="utf-8"?>
<ds:datastoreItem xmlns:ds="http://schemas.openxmlformats.org/officeDocument/2006/customXml" ds:itemID="{6FA333DB-6107-419A-A71E-14A2668FCC1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59.xml><?xml version="1.0" encoding="utf-8"?>
<ds:datastoreItem xmlns:ds="http://schemas.openxmlformats.org/officeDocument/2006/customXml" ds:itemID="{B6CA476F-696C-4383-A335-B340995B5B5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6.xml><?xml version="1.0" encoding="utf-8"?>
<ds:datastoreItem xmlns:ds="http://schemas.openxmlformats.org/officeDocument/2006/customXml" ds:itemID="{A65A625C-E38F-4FA4-8B0A-DFCD99093631}">
  <ds:schemaRefs>
    <ds:schemaRef ds:uri="http://schemas.microsoft.com/sharepoint/v3/contenttype/forms"/>
  </ds:schemaRefs>
</ds:datastoreItem>
</file>

<file path=customXml/itemProps460.xml><?xml version="1.0" encoding="utf-8"?>
<ds:datastoreItem xmlns:ds="http://schemas.openxmlformats.org/officeDocument/2006/customXml" ds:itemID="{ED9705F8-84F9-4CBE-8F2E-B97897F641C0}">
  <ds:schemaRefs>
    <ds:schemaRef ds:uri="http://schemas.microsoft.com/sharepoint/v3/contenttype/forms"/>
  </ds:schemaRefs>
</ds:datastoreItem>
</file>

<file path=customXml/itemProps461.xml><?xml version="1.0" encoding="utf-8"?>
<ds:datastoreItem xmlns:ds="http://schemas.openxmlformats.org/officeDocument/2006/customXml" ds:itemID="{DE547805-DDC9-4D94-BC47-195B8E17121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62.xml><?xml version="1.0" encoding="utf-8"?>
<ds:datastoreItem xmlns:ds="http://schemas.openxmlformats.org/officeDocument/2006/customXml" ds:itemID="{517A2BC0-3484-43F3-A7D1-91047C069C1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63.xml><?xml version="1.0" encoding="utf-8"?>
<ds:datastoreItem xmlns:ds="http://schemas.openxmlformats.org/officeDocument/2006/customXml" ds:itemID="{261AD1DA-F082-4F0E-B0B7-792C565B710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64.xml><?xml version="1.0" encoding="utf-8"?>
<ds:datastoreItem xmlns:ds="http://schemas.openxmlformats.org/officeDocument/2006/customXml" ds:itemID="{8AFE6399-2738-4685-8DDC-0B0E09E1559A}">
  <ds:schemaRefs>
    <ds:schemaRef ds:uri="http://schemas.microsoft.com/sharepoint/v3/contenttype/forms"/>
  </ds:schemaRefs>
</ds:datastoreItem>
</file>

<file path=customXml/itemProps465.xml><?xml version="1.0" encoding="utf-8"?>
<ds:datastoreItem xmlns:ds="http://schemas.openxmlformats.org/officeDocument/2006/customXml" ds:itemID="{60D8565D-F606-4683-A917-1460352817D8}">
  <ds:schemaRefs>
    <ds:schemaRef ds:uri="http://schemas.microsoft.com/sharepoint/v3/contenttype/forms"/>
  </ds:schemaRefs>
</ds:datastoreItem>
</file>

<file path=customXml/itemProps466.xml><?xml version="1.0" encoding="utf-8"?>
<ds:datastoreItem xmlns:ds="http://schemas.openxmlformats.org/officeDocument/2006/customXml" ds:itemID="{CB7BFC1D-F40F-4F5A-A7A4-42FAC33C4D3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67.xml><?xml version="1.0" encoding="utf-8"?>
<ds:datastoreItem xmlns:ds="http://schemas.openxmlformats.org/officeDocument/2006/customXml" ds:itemID="{3196E049-FF47-42D4-8DF4-E2B13ABB44A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68.xml><?xml version="1.0" encoding="utf-8"?>
<ds:datastoreItem xmlns:ds="http://schemas.openxmlformats.org/officeDocument/2006/customXml" ds:itemID="{CAF7F8C6-2A9E-408A-B2F5-28516649880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69.xml><?xml version="1.0" encoding="utf-8"?>
<ds:datastoreItem xmlns:ds="http://schemas.openxmlformats.org/officeDocument/2006/customXml" ds:itemID="{1338FF33-D6E6-4ABD-B7B0-B448099D7C72}">
  <ds:schemaRefs>
    <ds:schemaRef ds:uri="http://schemas.microsoft.com/sharepoint/v3/contenttype/forms"/>
  </ds:schemaRefs>
</ds:datastoreItem>
</file>

<file path=customXml/itemProps47.xml><?xml version="1.0" encoding="utf-8"?>
<ds:datastoreItem xmlns:ds="http://schemas.openxmlformats.org/officeDocument/2006/customXml" ds:itemID="{2C0A4952-90A8-4EB2-B4E7-FBDBAB8B3A7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70.xml><?xml version="1.0" encoding="utf-8"?>
<ds:datastoreItem xmlns:ds="http://schemas.openxmlformats.org/officeDocument/2006/customXml" ds:itemID="{A465C5C2-9216-4907-B0C6-06623866871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71.xml><?xml version="1.0" encoding="utf-8"?>
<ds:datastoreItem xmlns:ds="http://schemas.openxmlformats.org/officeDocument/2006/customXml" ds:itemID="{F8FCBE95-326E-432F-8E53-ABA69CC422D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72.xml><?xml version="1.0" encoding="utf-8"?>
<ds:datastoreItem xmlns:ds="http://schemas.openxmlformats.org/officeDocument/2006/customXml" ds:itemID="{AFDBBB80-E08E-41C9-93F3-4BDBE88F677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73.xml><?xml version="1.0" encoding="utf-8"?>
<ds:datastoreItem xmlns:ds="http://schemas.openxmlformats.org/officeDocument/2006/customXml" ds:itemID="{20441E4E-53B0-48A9-A93A-1B862139E326}">
  <ds:schemaRefs>
    <ds:schemaRef ds:uri="http://schemas.microsoft.com/sharepoint/v3/contenttype/forms"/>
  </ds:schemaRefs>
</ds:datastoreItem>
</file>

<file path=customXml/itemProps474.xml><?xml version="1.0" encoding="utf-8"?>
<ds:datastoreItem xmlns:ds="http://schemas.openxmlformats.org/officeDocument/2006/customXml" ds:itemID="{B4301ED7-952F-4516-A7A8-7BBBB17C96E3}">
  <ds:schemaRefs>
    <ds:schemaRef ds:uri="http://schemas.microsoft.com/sharepoint/v3/contenttype/forms"/>
  </ds:schemaRefs>
</ds:datastoreItem>
</file>

<file path=customXml/itemProps475.xml><?xml version="1.0" encoding="utf-8"?>
<ds:datastoreItem xmlns:ds="http://schemas.openxmlformats.org/officeDocument/2006/customXml" ds:itemID="{1A9FA9BC-FCED-4925-B1B4-7D052DAF574C}">
  <ds:schemaRefs>
    <ds:schemaRef ds:uri="http://schemas.microsoft.com/sharepoint/v3/contenttype/forms"/>
  </ds:schemaRefs>
</ds:datastoreItem>
</file>

<file path=customXml/itemProps476.xml><?xml version="1.0" encoding="utf-8"?>
<ds:datastoreItem xmlns:ds="http://schemas.openxmlformats.org/officeDocument/2006/customXml" ds:itemID="{6227B295-A7E9-42C0-B9C7-727F823A37F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77.xml><?xml version="1.0" encoding="utf-8"?>
<ds:datastoreItem xmlns:ds="http://schemas.openxmlformats.org/officeDocument/2006/customXml" ds:itemID="{A77E7382-5CD1-45DF-87E0-A0660B083C6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78.xml><?xml version="1.0" encoding="utf-8"?>
<ds:datastoreItem xmlns:ds="http://schemas.openxmlformats.org/officeDocument/2006/customXml" ds:itemID="{DA62AE9B-5568-4C57-A03E-31513327876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79.xml><?xml version="1.0" encoding="utf-8"?>
<ds:datastoreItem xmlns:ds="http://schemas.openxmlformats.org/officeDocument/2006/customXml" ds:itemID="{D9893F5D-AFA7-4415-B86B-1B950E9F0E0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8.xml><?xml version="1.0" encoding="utf-8"?>
<ds:datastoreItem xmlns:ds="http://schemas.openxmlformats.org/officeDocument/2006/customXml" ds:itemID="{D72BF98D-379B-49A6-A007-878072E7B082}">
  <ds:schemaRefs>
    <ds:schemaRef ds:uri="http://schemas.microsoft.com/sharepoint/v3/contenttype/forms"/>
  </ds:schemaRefs>
</ds:datastoreItem>
</file>

<file path=customXml/itemProps480.xml><?xml version="1.0" encoding="utf-8"?>
<ds:datastoreItem xmlns:ds="http://schemas.openxmlformats.org/officeDocument/2006/customXml" ds:itemID="{B7E06B1A-EA89-4269-B10A-66B159ECF6F8}">
  <ds:schemaRefs>
    <ds:schemaRef ds:uri="http://schemas.microsoft.com/sharepoint/v3/contenttype/forms"/>
  </ds:schemaRefs>
</ds:datastoreItem>
</file>

<file path=customXml/itemProps481.xml><?xml version="1.0" encoding="utf-8"?>
<ds:datastoreItem xmlns:ds="http://schemas.openxmlformats.org/officeDocument/2006/customXml" ds:itemID="{001A8DF3-CBCA-4F80-A4EA-DEDF4F92822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82.xml><?xml version="1.0" encoding="utf-8"?>
<ds:datastoreItem xmlns:ds="http://schemas.openxmlformats.org/officeDocument/2006/customXml" ds:itemID="{B1B62299-33DC-4E7D-ACE0-2339645B527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83.xml><?xml version="1.0" encoding="utf-8"?>
<ds:datastoreItem xmlns:ds="http://schemas.openxmlformats.org/officeDocument/2006/customXml" ds:itemID="{3F7B927F-E73E-4324-AFFC-49D92DDC40F9}">
  <ds:schemaRefs>
    <ds:schemaRef ds:uri="http://schemas.microsoft.com/sharepoint/v3/contenttype/forms"/>
  </ds:schemaRefs>
</ds:datastoreItem>
</file>

<file path=customXml/itemProps484.xml><?xml version="1.0" encoding="utf-8"?>
<ds:datastoreItem xmlns:ds="http://schemas.openxmlformats.org/officeDocument/2006/customXml" ds:itemID="{A6F05EC5-DCD8-4366-8AB8-C4AB5F73F82F}">
  <ds:schemaRefs>
    <ds:schemaRef ds:uri="http://schemas.microsoft.com/sharepoint/v3/contenttype/forms"/>
  </ds:schemaRefs>
</ds:datastoreItem>
</file>

<file path=customXml/itemProps485.xml><?xml version="1.0" encoding="utf-8"?>
<ds:datastoreItem xmlns:ds="http://schemas.openxmlformats.org/officeDocument/2006/customXml" ds:itemID="{1FDAE228-C129-4FBA-99A8-5374E391644A}">
  <ds:schemaRefs>
    <ds:schemaRef ds:uri="http://schemas.microsoft.com/sharepoint/v3/contenttype/forms"/>
  </ds:schemaRefs>
</ds:datastoreItem>
</file>

<file path=customXml/itemProps486.xml><?xml version="1.0" encoding="utf-8"?>
<ds:datastoreItem xmlns:ds="http://schemas.openxmlformats.org/officeDocument/2006/customXml" ds:itemID="{493C6F90-FF0F-4795-AA6E-F6287806B1B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87.xml><?xml version="1.0" encoding="utf-8"?>
<ds:datastoreItem xmlns:ds="http://schemas.openxmlformats.org/officeDocument/2006/customXml" ds:itemID="{0045ED0B-FEAB-40BF-8F05-CE6ACA1A6E6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88.xml><?xml version="1.0" encoding="utf-8"?>
<ds:datastoreItem xmlns:ds="http://schemas.openxmlformats.org/officeDocument/2006/customXml" ds:itemID="{840D7420-BA5C-4E8D-9D9A-09A10841387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89.xml><?xml version="1.0" encoding="utf-8"?>
<ds:datastoreItem xmlns:ds="http://schemas.openxmlformats.org/officeDocument/2006/customXml" ds:itemID="{DF291A20-C9EE-4844-A1AB-70C3729EEDF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9.xml><?xml version="1.0" encoding="utf-8"?>
<ds:datastoreItem xmlns:ds="http://schemas.openxmlformats.org/officeDocument/2006/customXml" ds:itemID="{D079FBBA-141B-4102-BE6F-B449F191665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90.xml><?xml version="1.0" encoding="utf-8"?>
<ds:datastoreItem xmlns:ds="http://schemas.openxmlformats.org/officeDocument/2006/customXml" ds:itemID="{24B44929-DCF6-458E-8AB1-F9E14649520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91.xml><?xml version="1.0" encoding="utf-8"?>
<ds:datastoreItem xmlns:ds="http://schemas.openxmlformats.org/officeDocument/2006/customXml" ds:itemID="{B8A67E30-6CC2-4F08-A557-20227996666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92.xml><?xml version="1.0" encoding="utf-8"?>
<ds:datastoreItem xmlns:ds="http://schemas.openxmlformats.org/officeDocument/2006/customXml" ds:itemID="{5F7483D0-1C0E-4653-8822-8301C867EF47}">
  <ds:schemaRefs>
    <ds:schemaRef ds:uri="http://schemas.microsoft.com/sharepoint/v3/contenttype/forms"/>
  </ds:schemaRefs>
</ds:datastoreItem>
</file>

<file path=customXml/itemProps493.xml><?xml version="1.0" encoding="utf-8"?>
<ds:datastoreItem xmlns:ds="http://schemas.openxmlformats.org/officeDocument/2006/customXml" ds:itemID="{DE8C3041-51CB-4CC6-A6E8-4DD2512A22A7}">
  <ds:schemaRefs>
    <ds:schemaRef ds:uri="http://schemas.microsoft.com/sharepoint/v3/contenttype/forms"/>
  </ds:schemaRefs>
</ds:datastoreItem>
</file>

<file path=customXml/itemProps494.xml><?xml version="1.0" encoding="utf-8"?>
<ds:datastoreItem xmlns:ds="http://schemas.openxmlformats.org/officeDocument/2006/customXml" ds:itemID="{AB4B28C1-D8AC-421C-AC29-38952447B332}">
  <ds:schemaRefs>
    <ds:schemaRef ds:uri="http://schemas.microsoft.com/sharepoint/v3/contenttype/forms"/>
  </ds:schemaRefs>
</ds:datastoreItem>
</file>

<file path=customXml/itemProps495.xml><?xml version="1.0" encoding="utf-8"?>
<ds:datastoreItem xmlns:ds="http://schemas.openxmlformats.org/officeDocument/2006/customXml" ds:itemID="{9063F8D4-5E9C-411F-A9FD-8485E145F0D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96.xml><?xml version="1.0" encoding="utf-8"?>
<ds:datastoreItem xmlns:ds="http://schemas.openxmlformats.org/officeDocument/2006/customXml" ds:itemID="{F1BC11DA-4099-450C-A38F-DAAA72CB787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97.xml><?xml version="1.0" encoding="utf-8"?>
<ds:datastoreItem xmlns:ds="http://schemas.openxmlformats.org/officeDocument/2006/customXml" ds:itemID="{263900BE-D368-4CE5-8E5F-34D97693B89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98.xml><?xml version="1.0" encoding="utf-8"?>
<ds:datastoreItem xmlns:ds="http://schemas.openxmlformats.org/officeDocument/2006/customXml" ds:itemID="{29D17CE2-1DFA-4B71-A993-E0B6C0FB87C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99.xml><?xml version="1.0" encoding="utf-8"?>
<ds:datastoreItem xmlns:ds="http://schemas.openxmlformats.org/officeDocument/2006/customXml" ds:itemID="{F155D306-EF80-483D-B9AD-9CBC233AE2B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2A7ABD80-C8B7-45C7-B00F-1B2ABE543A8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0.xml><?xml version="1.0" encoding="utf-8"?>
<ds:datastoreItem xmlns:ds="http://schemas.openxmlformats.org/officeDocument/2006/customXml" ds:itemID="{09AC5744-D60C-44C4-B1FB-BDAD9E022670}">
  <ds:schemaRefs>
    <ds:schemaRef ds:uri="http://schemas.microsoft.com/sharepoint/v3/contenttype/forms"/>
  </ds:schemaRefs>
</ds:datastoreItem>
</file>

<file path=customXml/itemProps500.xml><?xml version="1.0" encoding="utf-8"?>
<ds:datastoreItem xmlns:ds="http://schemas.openxmlformats.org/officeDocument/2006/customXml" ds:itemID="{9BE62595-EA90-4F91-848D-A25C2D30DB74}">
  <ds:schemaRefs>
    <ds:schemaRef ds:uri="http://schemas.microsoft.com/sharepoint/v3/contenttype/forms"/>
  </ds:schemaRefs>
</ds:datastoreItem>
</file>

<file path=customXml/itemProps501.xml><?xml version="1.0" encoding="utf-8"?>
<ds:datastoreItem xmlns:ds="http://schemas.openxmlformats.org/officeDocument/2006/customXml" ds:itemID="{1BB5B64D-B56C-488C-BF73-D06AE9B2F4A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02.xml><?xml version="1.0" encoding="utf-8"?>
<ds:datastoreItem xmlns:ds="http://schemas.openxmlformats.org/officeDocument/2006/customXml" ds:itemID="{8463C40D-7690-4DFA-B0ED-129087BAE50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03.xml><?xml version="1.0" encoding="utf-8"?>
<ds:datastoreItem xmlns:ds="http://schemas.openxmlformats.org/officeDocument/2006/customXml" ds:itemID="{FA430BE6-1923-44B2-94B3-91E5A438B75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04.xml><?xml version="1.0" encoding="utf-8"?>
<ds:datastoreItem xmlns:ds="http://schemas.openxmlformats.org/officeDocument/2006/customXml" ds:itemID="{BD00EB79-E726-4664-9830-CE3B941AA475}">
  <ds:schemaRefs>
    <ds:schemaRef ds:uri="http://schemas.microsoft.com/sharepoint/v3/contenttype/forms"/>
  </ds:schemaRefs>
</ds:datastoreItem>
</file>

<file path=customXml/itemProps505.xml><?xml version="1.0" encoding="utf-8"?>
<ds:datastoreItem xmlns:ds="http://schemas.openxmlformats.org/officeDocument/2006/customXml" ds:itemID="{635C7E9D-D679-4550-B4AF-375C7F77669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06.xml><?xml version="1.0" encoding="utf-8"?>
<ds:datastoreItem xmlns:ds="http://schemas.openxmlformats.org/officeDocument/2006/customXml" ds:itemID="{4CEBFD40-2787-4DC6-95AB-5D80598E9CD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07.xml><?xml version="1.0" encoding="utf-8"?>
<ds:datastoreItem xmlns:ds="http://schemas.openxmlformats.org/officeDocument/2006/customXml" ds:itemID="{B12C32CC-3E5F-4BC5-BE4D-4F2348C79B5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08.xml><?xml version="1.0" encoding="utf-8"?>
<ds:datastoreItem xmlns:ds="http://schemas.openxmlformats.org/officeDocument/2006/customXml" ds:itemID="{F935A61C-0583-4D08-901E-38C30EAC51D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09.xml><?xml version="1.0" encoding="utf-8"?>
<ds:datastoreItem xmlns:ds="http://schemas.openxmlformats.org/officeDocument/2006/customXml" ds:itemID="{CF3D1110-0C15-4450-9A8E-4D3EED2EDB07}">
  <ds:schemaRefs>
    <ds:schemaRef ds:uri="http://schemas.microsoft.com/sharepoint/v3/contenttype/forms"/>
  </ds:schemaRefs>
</ds:datastoreItem>
</file>

<file path=customXml/itemProps51.xml><?xml version="1.0" encoding="utf-8"?>
<ds:datastoreItem xmlns:ds="http://schemas.openxmlformats.org/officeDocument/2006/customXml" ds:itemID="{E09C0806-1717-497A-A424-01C303F949D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10.xml><?xml version="1.0" encoding="utf-8"?>
<ds:datastoreItem xmlns:ds="http://schemas.openxmlformats.org/officeDocument/2006/customXml" ds:itemID="{F8CD4FB5-8A47-4B36-AF33-D39B98947B57}">
  <ds:schemaRefs>
    <ds:schemaRef ds:uri="http://schemas.microsoft.com/sharepoint/v3/contenttype/forms"/>
  </ds:schemaRefs>
</ds:datastoreItem>
</file>

<file path=customXml/itemProps511.xml><?xml version="1.0" encoding="utf-8"?>
<ds:datastoreItem xmlns:ds="http://schemas.openxmlformats.org/officeDocument/2006/customXml" ds:itemID="{D9F85C2D-71FC-4AF6-9E05-08633146487E}">
  <ds:schemaRefs>
    <ds:schemaRef ds:uri="http://schemas.microsoft.com/sharepoint/v3/contenttype/forms"/>
  </ds:schemaRefs>
</ds:datastoreItem>
</file>

<file path=customXml/itemProps512.xml><?xml version="1.0" encoding="utf-8"?>
<ds:datastoreItem xmlns:ds="http://schemas.openxmlformats.org/officeDocument/2006/customXml" ds:itemID="{40745DBC-0AC5-49D5-8B02-0B1B3268D99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13.xml><?xml version="1.0" encoding="utf-8"?>
<ds:datastoreItem xmlns:ds="http://schemas.openxmlformats.org/officeDocument/2006/customXml" ds:itemID="{5A9B1A98-95F2-4C63-A942-4F114088D0D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14.xml><?xml version="1.0" encoding="utf-8"?>
<ds:datastoreItem xmlns:ds="http://schemas.openxmlformats.org/officeDocument/2006/customXml" ds:itemID="{2CC7EF47-3B93-4AAA-B413-42584FB00ECD}">
  <ds:schemaRefs>
    <ds:schemaRef ds:uri="http://schemas.microsoft.com/sharepoint/v3/contenttype/forms"/>
  </ds:schemaRefs>
</ds:datastoreItem>
</file>

<file path=customXml/itemProps515.xml><?xml version="1.0" encoding="utf-8"?>
<ds:datastoreItem xmlns:ds="http://schemas.openxmlformats.org/officeDocument/2006/customXml" ds:itemID="{358E56FE-9C82-41CE-9774-014DD792D88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16.xml><?xml version="1.0" encoding="utf-8"?>
<ds:datastoreItem xmlns:ds="http://schemas.openxmlformats.org/officeDocument/2006/customXml" ds:itemID="{0B6C5339-A819-4AB2-A160-69CFBBE7A564}">
  <ds:schemaRefs>
    <ds:schemaRef ds:uri="http://schemas.microsoft.com/sharepoint/v3/contenttype/forms"/>
  </ds:schemaRefs>
</ds:datastoreItem>
</file>

<file path=customXml/itemProps517.xml><?xml version="1.0" encoding="utf-8"?>
<ds:datastoreItem xmlns:ds="http://schemas.openxmlformats.org/officeDocument/2006/customXml" ds:itemID="{CAAA22DF-B6DB-49B2-BF82-0E66D7D4EAAF}">
  <ds:schemaRefs>
    <ds:schemaRef ds:uri="http://schemas.microsoft.com/sharepoint/v3/contenttype/forms"/>
  </ds:schemaRefs>
</ds:datastoreItem>
</file>

<file path=customXml/itemProps518.xml><?xml version="1.0" encoding="utf-8"?>
<ds:datastoreItem xmlns:ds="http://schemas.openxmlformats.org/officeDocument/2006/customXml" ds:itemID="{A1268601-BA34-44C1-AE26-FD8366BFEF1A}">
  <ds:schemaRefs>
    <ds:schemaRef ds:uri="http://schemas.microsoft.com/sharepoint/v3/contenttype/forms"/>
  </ds:schemaRefs>
</ds:datastoreItem>
</file>

<file path=customXml/itemProps519.xml><?xml version="1.0" encoding="utf-8"?>
<ds:datastoreItem xmlns:ds="http://schemas.openxmlformats.org/officeDocument/2006/customXml" ds:itemID="{B67A5188-55FD-4B4B-B907-C7D901BE45C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2.xml><?xml version="1.0" encoding="utf-8"?>
<ds:datastoreItem xmlns:ds="http://schemas.openxmlformats.org/officeDocument/2006/customXml" ds:itemID="{49E02F52-F1BE-47C8-B742-A003E84488A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20.xml><?xml version="1.0" encoding="utf-8"?>
<ds:datastoreItem xmlns:ds="http://schemas.openxmlformats.org/officeDocument/2006/customXml" ds:itemID="{AAEE0AE4-610E-422A-86E4-CF9598B8E0D4}">
  <ds:schemaRefs>
    <ds:schemaRef ds:uri="http://schemas.microsoft.com/sharepoint/v3/contenttype/forms"/>
  </ds:schemaRefs>
</ds:datastoreItem>
</file>

<file path=customXml/itemProps521.xml><?xml version="1.0" encoding="utf-8"?>
<ds:datastoreItem xmlns:ds="http://schemas.openxmlformats.org/officeDocument/2006/customXml" ds:itemID="{C8D6E25B-FFEB-4EB6-A478-E9FD2B7CB5CA}">
  <ds:schemaRefs>
    <ds:schemaRef ds:uri="http://schemas.microsoft.com/sharepoint/v3/contenttype/forms"/>
  </ds:schemaRefs>
</ds:datastoreItem>
</file>

<file path=customXml/itemProps522.xml><?xml version="1.0" encoding="utf-8"?>
<ds:datastoreItem xmlns:ds="http://schemas.openxmlformats.org/officeDocument/2006/customXml" ds:itemID="{3B74A9D5-F26F-45B2-B3D0-150158F68E9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23.xml><?xml version="1.0" encoding="utf-8"?>
<ds:datastoreItem xmlns:ds="http://schemas.openxmlformats.org/officeDocument/2006/customXml" ds:itemID="{A807A631-8EB9-4486-92DB-C2DB1F84262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24.xml><?xml version="1.0" encoding="utf-8"?>
<ds:datastoreItem xmlns:ds="http://schemas.openxmlformats.org/officeDocument/2006/customXml" ds:itemID="{3DDC187B-CC82-40D0-8BAC-0E71530AC19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25.xml><?xml version="1.0" encoding="utf-8"?>
<ds:datastoreItem xmlns:ds="http://schemas.openxmlformats.org/officeDocument/2006/customXml" ds:itemID="{9E8B5D2A-C802-400A-A105-828C3596EEF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26.xml><?xml version="1.0" encoding="utf-8"?>
<ds:datastoreItem xmlns:ds="http://schemas.openxmlformats.org/officeDocument/2006/customXml" ds:itemID="{A2DA2E3F-3478-4FC6-82B3-723B92442F9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27.xml><?xml version="1.0" encoding="utf-8"?>
<ds:datastoreItem xmlns:ds="http://schemas.openxmlformats.org/officeDocument/2006/customXml" ds:itemID="{7AFCA8D7-4A63-45CC-84F7-E121803CC110}">
  <ds:schemaRefs>
    <ds:schemaRef ds:uri="http://schemas.microsoft.com/sharepoint/v3/contenttype/forms"/>
  </ds:schemaRefs>
</ds:datastoreItem>
</file>

<file path=customXml/itemProps528.xml><?xml version="1.0" encoding="utf-8"?>
<ds:datastoreItem xmlns:ds="http://schemas.openxmlformats.org/officeDocument/2006/customXml" ds:itemID="{8EEE1B2B-2640-4972-93BF-86E623D770F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29.xml><?xml version="1.0" encoding="utf-8"?>
<ds:datastoreItem xmlns:ds="http://schemas.openxmlformats.org/officeDocument/2006/customXml" ds:itemID="{00F7DC27-9CC3-4423-9246-357A5F20BD4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3.xml><?xml version="1.0" encoding="utf-8"?>
<ds:datastoreItem xmlns:ds="http://schemas.openxmlformats.org/officeDocument/2006/customXml" ds:itemID="{A21683CB-4C78-4BF8-9678-5B04DA91E8D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30.xml><?xml version="1.0" encoding="utf-8"?>
<ds:datastoreItem xmlns:ds="http://schemas.openxmlformats.org/officeDocument/2006/customXml" ds:itemID="{A54BD0A1-11AE-4C1C-8424-46B40A79982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31.xml><?xml version="1.0" encoding="utf-8"?>
<ds:datastoreItem xmlns:ds="http://schemas.openxmlformats.org/officeDocument/2006/customXml" ds:itemID="{7DDFFC7E-7BB9-4141-81D3-C3BC6628886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32.xml><?xml version="1.0" encoding="utf-8"?>
<ds:datastoreItem xmlns:ds="http://schemas.openxmlformats.org/officeDocument/2006/customXml" ds:itemID="{CEBE3497-853D-49BE-9A88-ECF6D6D7F78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33.xml><?xml version="1.0" encoding="utf-8"?>
<ds:datastoreItem xmlns:ds="http://schemas.openxmlformats.org/officeDocument/2006/customXml" ds:itemID="{ED2F3220-2179-4A73-B5D4-C16E43CD983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34.xml><?xml version="1.0" encoding="utf-8"?>
<ds:datastoreItem xmlns:ds="http://schemas.openxmlformats.org/officeDocument/2006/customXml" ds:itemID="{74598A88-993F-4A1C-A944-FDE4E3A3DD96}">
  <ds:schemaRefs>
    <ds:schemaRef ds:uri="http://schemas.microsoft.com/sharepoint/v3/contenttype/forms"/>
  </ds:schemaRefs>
</ds:datastoreItem>
</file>

<file path=customXml/itemProps535.xml><?xml version="1.0" encoding="utf-8"?>
<ds:datastoreItem xmlns:ds="http://schemas.openxmlformats.org/officeDocument/2006/customXml" ds:itemID="{632F9FAF-CCFF-447C-910D-927365BA155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36.xml><?xml version="1.0" encoding="utf-8"?>
<ds:datastoreItem xmlns:ds="http://schemas.openxmlformats.org/officeDocument/2006/customXml" ds:itemID="{900FED69-6EAC-4733-AD64-2C7E2E2D5AA5}">
  <ds:schemaRefs>
    <ds:schemaRef ds:uri="http://schemas.microsoft.com/sharepoint/v3/contenttype/forms"/>
  </ds:schemaRefs>
</ds:datastoreItem>
</file>

<file path=customXml/itemProps537.xml><?xml version="1.0" encoding="utf-8"?>
<ds:datastoreItem xmlns:ds="http://schemas.openxmlformats.org/officeDocument/2006/customXml" ds:itemID="{4E27F836-4F8C-4845-99D2-CCFADBE1122F}">
  <ds:schemaRefs>
    <ds:schemaRef ds:uri="http://schemas.microsoft.com/sharepoint/v3/contenttype/forms"/>
  </ds:schemaRefs>
</ds:datastoreItem>
</file>

<file path=customXml/itemProps538.xml><?xml version="1.0" encoding="utf-8"?>
<ds:datastoreItem xmlns:ds="http://schemas.openxmlformats.org/officeDocument/2006/customXml" ds:itemID="{D02FB89A-680E-458E-9FD5-F6CC5E1F2BD0}">
  <ds:schemaRefs>
    <ds:schemaRef ds:uri="http://schemas.microsoft.com/sharepoint/v3/contenttype/forms"/>
  </ds:schemaRefs>
</ds:datastoreItem>
</file>

<file path=customXml/itemProps539.xml><?xml version="1.0" encoding="utf-8"?>
<ds:datastoreItem xmlns:ds="http://schemas.openxmlformats.org/officeDocument/2006/customXml" ds:itemID="{72AFD7F0-4FB7-4B6C-A66A-993CB3E31F6C}">
  <ds:schemaRefs>
    <ds:schemaRef ds:uri="http://schemas.microsoft.com/sharepoint/v3/contenttype/forms"/>
  </ds:schemaRefs>
</ds:datastoreItem>
</file>

<file path=customXml/itemProps54.xml><?xml version="1.0" encoding="utf-8"?>
<ds:datastoreItem xmlns:ds="http://schemas.openxmlformats.org/officeDocument/2006/customXml" ds:itemID="{0AC8D008-E28A-448E-9C4A-14046FA4A0E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40.xml><?xml version="1.0" encoding="utf-8"?>
<ds:datastoreItem xmlns:ds="http://schemas.openxmlformats.org/officeDocument/2006/customXml" ds:itemID="{F4D7CDEE-1552-48DA-B5DC-7B7238BFF30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41.xml><?xml version="1.0" encoding="utf-8"?>
<ds:datastoreItem xmlns:ds="http://schemas.openxmlformats.org/officeDocument/2006/customXml" ds:itemID="{5C80FF53-56D6-4BEC-8057-4E12061F6DC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42.xml><?xml version="1.0" encoding="utf-8"?>
<ds:datastoreItem xmlns:ds="http://schemas.openxmlformats.org/officeDocument/2006/customXml" ds:itemID="{14660BBA-B893-4581-95A2-3E75F84AB52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43.xml><?xml version="1.0" encoding="utf-8"?>
<ds:datastoreItem xmlns:ds="http://schemas.openxmlformats.org/officeDocument/2006/customXml" ds:itemID="{55A84F0D-D6EA-4576-A496-90CAB2A8657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44.xml><?xml version="1.0" encoding="utf-8"?>
<ds:datastoreItem xmlns:ds="http://schemas.openxmlformats.org/officeDocument/2006/customXml" ds:itemID="{DB53CA46-9787-401E-8DCC-CFFDE04A0AD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45.xml><?xml version="1.0" encoding="utf-8"?>
<ds:datastoreItem xmlns:ds="http://schemas.openxmlformats.org/officeDocument/2006/customXml" ds:itemID="{4A29E2B0-CD5F-487D-8F7D-D3A34B1A176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46.xml><?xml version="1.0" encoding="utf-8"?>
<ds:datastoreItem xmlns:ds="http://schemas.openxmlformats.org/officeDocument/2006/customXml" ds:itemID="{A7600453-494B-4618-8063-F13DAB68BC2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47.xml><?xml version="1.0" encoding="utf-8"?>
<ds:datastoreItem xmlns:ds="http://schemas.openxmlformats.org/officeDocument/2006/customXml" ds:itemID="{236CF7FE-F99F-4C57-95C4-1323E5379EAD}">
  <ds:schemaRefs>
    <ds:schemaRef ds:uri="http://schemas.microsoft.com/sharepoint/v3/contenttype/forms"/>
  </ds:schemaRefs>
</ds:datastoreItem>
</file>

<file path=customXml/itemProps548.xml><?xml version="1.0" encoding="utf-8"?>
<ds:datastoreItem xmlns:ds="http://schemas.openxmlformats.org/officeDocument/2006/customXml" ds:itemID="{B08BD6FE-FFAC-4469-8B46-7E5CA37CB754}">
  <ds:schemaRefs>
    <ds:schemaRef ds:uri="http://schemas.microsoft.com/sharepoint/v3/contenttype/forms"/>
  </ds:schemaRefs>
</ds:datastoreItem>
</file>

<file path=customXml/itemProps549.xml><?xml version="1.0" encoding="utf-8"?>
<ds:datastoreItem xmlns:ds="http://schemas.openxmlformats.org/officeDocument/2006/customXml" ds:itemID="{7E7AC8D3-7774-422E-8436-F49A2FF9ACE7}">
  <ds:schemaRefs>
    <ds:schemaRef ds:uri="http://schemas.microsoft.com/sharepoint/v3/contenttype/forms"/>
  </ds:schemaRefs>
</ds:datastoreItem>
</file>

<file path=customXml/itemProps55.xml><?xml version="1.0" encoding="utf-8"?>
<ds:datastoreItem xmlns:ds="http://schemas.openxmlformats.org/officeDocument/2006/customXml" ds:itemID="{157104C5-41F4-43A4-8CE5-532A3036AA0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50.xml><?xml version="1.0" encoding="utf-8"?>
<ds:datastoreItem xmlns:ds="http://schemas.openxmlformats.org/officeDocument/2006/customXml" ds:itemID="{8F514FCA-63B0-4662-9037-DE2A4B50E97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51.xml><?xml version="1.0" encoding="utf-8"?>
<ds:datastoreItem xmlns:ds="http://schemas.openxmlformats.org/officeDocument/2006/customXml" ds:itemID="{AB7ABF24-98FE-47A8-A918-F1978874AD05}">
  <ds:schemaRefs>
    <ds:schemaRef ds:uri="http://schemas.microsoft.com/sharepoint/v3/contenttype/forms"/>
  </ds:schemaRefs>
</ds:datastoreItem>
</file>

<file path=customXml/itemProps552.xml><?xml version="1.0" encoding="utf-8"?>
<ds:datastoreItem xmlns:ds="http://schemas.openxmlformats.org/officeDocument/2006/customXml" ds:itemID="{80D0EFD6-15A5-4C63-9BF8-D73F4A454672}">
  <ds:schemaRefs>
    <ds:schemaRef ds:uri="http://schemas.microsoft.com/sharepoint/v3/contenttype/forms"/>
  </ds:schemaRefs>
</ds:datastoreItem>
</file>

<file path=customXml/itemProps553.xml><?xml version="1.0" encoding="utf-8"?>
<ds:datastoreItem xmlns:ds="http://schemas.openxmlformats.org/officeDocument/2006/customXml" ds:itemID="{A4D80605-A5D8-42AA-849B-6B8E7D49C82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54.xml><?xml version="1.0" encoding="utf-8"?>
<ds:datastoreItem xmlns:ds="http://schemas.openxmlformats.org/officeDocument/2006/customXml" ds:itemID="{A03E2E3A-E0BC-48F8-BA32-0EA02CD0A690}">
  <ds:schemaRefs>
    <ds:schemaRef ds:uri="http://schemas.microsoft.com/sharepoint/v3/contenttype/forms"/>
  </ds:schemaRefs>
</ds:datastoreItem>
</file>

<file path=customXml/itemProps555.xml><?xml version="1.0" encoding="utf-8"?>
<ds:datastoreItem xmlns:ds="http://schemas.openxmlformats.org/officeDocument/2006/customXml" ds:itemID="{67249DB0-4910-49C9-AFF2-4C8B09585F4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56.xml><?xml version="1.0" encoding="utf-8"?>
<ds:datastoreItem xmlns:ds="http://schemas.openxmlformats.org/officeDocument/2006/customXml" ds:itemID="{F257F562-659B-4EDA-808A-3C8EAB8117B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57.xml><?xml version="1.0" encoding="utf-8"?>
<ds:datastoreItem xmlns:ds="http://schemas.openxmlformats.org/officeDocument/2006/customXml" ds:itemID="{C3019180-28C2-4024-9DD8-2AE545896BAC}">
  <ds:schemaRefs>
    <ds:schemaRef ds:uri="http://schemas.microsoft.com/sharepoint/v3/contenttype/forms"/>
  </ds:schemaRefs>
</ds:datastoreItem>
</file>

<file path=customXml/itemProps558.xml><?xml version="1.0" encoding="utf-8"?>
<ds:datastoreItem xmlns:ds="http://schemas.openxmlformats.org/officeDocument/2006/customXml" ds:itemID="{BD4BC9D2-DAE6-46E4-80B1-A79830C27127}">
  <ds:schemaRefs>
    <ds:schemaRef ds:uri="http://schemas.microsoft.com/sharepoint/v3/contenttype/forms"/>
  </ds:schemaRefs>
</ds:datastoreItem>
</file>

<file path=customXml/itemProps559.xml><?xml version="1.0" encoding="utf-8"?>
<ds:datastoreItem xmlns:ds="http://schemas.openxmlformats.org/officeDocument/2006/customXml" ds:itemID="{1E46BACE-F3F4-4B98-B0FE-6447EA758F6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6.xml><?xml version="1.0" encoding="utf-8"?>
<ds:datastoreItem xmlns:ds="http://schemas.openxmlformats.org/officeDocument/2006/customXml" ds:itemID="{1008B23D-B9BB-4421-9586-1BE63E0DFE3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60.xml><?xml version="1.0" encoding="utf-8"?>
<ds:datastoreItem xmlns:ds="http://schemas.openxmlformats.org/officeDocument/2006/customXml" ds:itemID="{ED5DD4F5-2B98-4E24-A8FD-816E38F5FB5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61.xml><?xml version="1.0" encoding="utf-8"?>
<ds:datastoreItem xmlns:ds="http://schemas.openxmlformats.org/officeDocument/2006/customXml" ds:itemID="{0425889B-8521-4506-A136-824B62B601C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62.xml><?xml version="1.0" encoding="utf-8"?>
<ds:datastoreItem xmlns:ds="http://schemas.openxmlformats.org/officeDocument/2006/customXml" ds:itemID="{29F7B601-1788-4F67-B094-C41BE4630D21}">
  <ds:schemaRefs>
    <ds:schemaRef ds:uri="http://schemas.microsoft.com/sharepoint/v3/contenttype/forms"/>
  </ds:schemaRefs>
</ds:datastoreItem>
</file>

<file path=customXml/itemProps563.xml><?xml version="1.0" encoding="utf-8"?>
<ds:datastoreItem xmlns:ds="http://schemas.openxmlformats.org/officeDocument/2006/customXml" ds:itemID="{5AE5E29E-7F1B-4520-8CD9-5D18CC9A87F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64.xml><?xml version="1.0" encoding="utf-8"?>
<ds:datastoreItem xmlns:ds="http://schemas.openxmlformats.org/officeDocument/2006/customXml" ds:itemID="{61754538-2208-47FD-8272-7BBC1581E380}">
  <ds:schemaRefs>
    <ds:schemaRef ds:uri="http://schemas.microsoft.com/sharepoint/v3/contenttype/forms"/>
  </ds:schemaRefs>
</ds:datastoreItem>
</file>

<file path=customXml/itemProps565.xml><?xml version="1.0" encoding="utf-8"?>
<ds:datastoreItem xmlns:ds="http://schemas.openxmlformats.org/officeDocument/2006/customXml" ds:itemID="{A10507C2-CCCF-49D2-92F1-0D6935D4F29A}">
  <ds:schemaRefs>
    <ds:schemaRef ds:uri="http://schemas.microsoft.com/sharepoint/v3/contenttype/forms"/>
  </ds:schemaRefs>
</ds:datastoreItem>
</file>

<file path=customXml/itemProps566.xml><?xml version="1.0" encoding="utf-8"?>
<ds:datastoreItem xmlns:ds="http://schemas.openxmlformats.org/officeDocument/2006/customXml" ds:itemID="{556434CE-2560-48EF-809C-5887B43B316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67.xml><?xml version="1.0" encoding="utf-8"?>
<ds:datastoreItem xmlns:ds="http://schemas.openxmlformats.org/officeDocument/2006/customXml" ds:itemID="{798E2829-1688-4E94-8C52-2E19C06AA83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68.xml><?xml version="1.0" encoding="utf-8"?>
<ds:datastoreItem xmlns:ds="http://schemas.openxmlformats.org/officeDocument/2006/customXml" ds:itemID="{8D8DF399-E34F-4895-984C-EC31C2A3A1E1}">
  <ds:schemaRefs>
    <ds:schemaRef ds:uri="http://schemas.microsoft.com/sharepoint/v3/contenttype/forms"/>
  </ds:schemaRefs>
</ds:datastoreItem>
</file>

<file path=customXml/itemProps569.xml><?xml version="1.0" encoding="utf-8"?>
<ds:datastoreItem xmlns:ds="http://schemas.openxmlformats.org/officeDocument/2006/customXml" ds:itemID="{DE9FEEE8-40E5-4DAF-A906-450E6A9EFE17}">
  <ds:schemaRefs>
    <ds:schemaRef ds:uri="http://schemas.microsoft.com/sharepoint/v3/contenttype/forms"/>
  </ds:schemaRefs>
</ds:datastoreItem>
</file>

<file path=customXml/itemProps57.xml><?xml version="1.0" encoding="utf-8"?>
<ds:datastoreItem xmlns:ds="http://schemas.openxmlformats.org/officeDocument/2006/customXml" ds:itemID="{FDA1611A-794E-40EA-A7D5-847EA71CADE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70.xml><?xml version="1.0" encoding="utf-8"?>
<ds:datastoreItem xmlns:ds="http://schemas.openxmlformats.org/officeDocument/2006/customXml" ds:itemID="{EBE0D42D-52EA-4FD8-90EE-F0EE83826E6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71.xml><?xml version="1.0" encoding="utf-8"?>
<ds:datastoreItem xmlns:ds="http://schemas.openxmlformats.org/officeDocument/2006/customXml" ds:itemID="{E10D4B03-8A7D-4C2D-97B3-FB5A46F090B9}">
  <ds:schemaRefs>
    <ds:schemaRef ds:uri="http://schemas.microsoft.com/sharepoint/v3/contenttype/forms"/>
  </ds:schemaRefs>
</ds:datastoreItem>
</file>

<file path=customXml/itemProps572.xml><?xml version="1.0" encoding="utf-8"?>
<ds:datastoreItem xmlns:ds="http://schemas.openxmlformats.org/officeDocument/2006/customXml" ds:itemID="{1B1AB2AB-888C-4B02-B6B2-F4591955F67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73.xml><?xml version="1.0" encoding="utf-8"?>
<ds:datastoreItem xmlns:ds="http://schemas.openxmlformats.org/officeDocument/2006/customXml" ds:itemID="{9C2420C6-1CAC-4D24-802D-DA70C9E9A76E}">
  <ds:schemaRefs>
    <ds:schemaRef ds:uri="http://schemas.microsoft.com/sharepoint/v3/contenttype/forms"/>
  </ds:schemaRefs>
</ds:datastoreItem>
</file>

<file path=customXml/itemProps574.xml><?xml version="1.0" encoding="utf-8"?>
<ds:datastoreItem xmlns:ds="http://schemas.openxmlformats.org/officeDocument/2006/customXml" ds:itemID="{F93CE6B3-4306-44CF-9A80-FDF2017AFBD4}">
  <ds:schemaRefs>
    <ds:schemaRef ds:uri="http://schemas.microsoft.com/sharepoint/v3/contenttype/forms"/>
  </ds:schemaRefs>
</ds:datastoreItem>
</file>

<file path=customXml/itemProps575.xml><?xml version="1.0" encoding="utf-8"?>
<ds:datastoreItem xmlns:ds="http://schemas.openxmlformats.org/officeDocument/2006/customXml" ds:itemID="{144785BB-31D7-4F73-97EF-CC005BD802B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76.xml><?xml version="1.0" encoding="utf-8"?>
<ds:datastoreItem xmlns:ds="http://schemas.openxmlformats.org/officeDocument/2006/customXml" ds:itemID="{610BB106-2F66-4C13-8902-D6CA9B0EA81A}">
  <ds:schemaRefs>
    <ds:schemaRef ds:uri="http://schemas.microsoft.com/sharepoint/v3/contenttype/forms"/>
  </ds:schemaRefs>
</ds:datastoreItem>
</file>

<file path=customXml/itemProps577.xml><?xml version="1.0" encoding="utf-8"?>
<ds:datastoreItem xmlns:ds="http://schemas.openxmlformats.org/officeDocument/2006/customXml" ds:itemID="{D3EA00E2-33CD-45AD-9204-6B4D96FACF1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78.xml><?xml version="1.0" encoding="utf-8"?>
<ds:datastoreItem xmlns:ds="http://schemas.openxmlformats.org/officeDocument/2006/customXml" ds:itemID="{1A32A05C-B839-4A98-824A-AE711021EC71}">
  <ds:schemaRefs>
    <ds:schemaRef ds:uri="http://schemas.microsoft.com/sharepoint/v3/contenttype/forms"/>
  </ds:schemaRefs>
</ds:datastoreItem>
</file>

<file path=customXml/itemProps579.xml><?xml version="1.0" encoding="utf-8"?>
<ds:datastoreItem xmlns:ds="http://schemas.openxmlformats.org/officeDocument/2006/customXml" ds:itemID="{CCC61C31-5C72-403F-832C-733AD9D40B6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.xml><?xml version="1.0" encoding="utf-8"?>
<ds:datastoreItem xmlns:ds="http://schemas.openxmlformats.org/officeDocument/2006/customXml" ds:itemID="{07308505-BE76-47AA-9F3E-5E0C36F451D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0.xml><?xml version="1.0" encoding="utf-8"?>
<ds:datastoreItem xmlns:ds="http://schemas.openxmlformats.org/officeDocument/2006/customXml" ds:itemID="{62C94EED-27E6-4BF3-A460-461024B1978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1.xml><?xml version="1.0" encoding="utf-8"?>
<ds:datastoreItem xmlns:ds="http://schemas.openxmlformats.org/officeDocument/2006/customXml" ds:itemID="{128C8F6B-EBC9-4A1B-A8C8-F06D1272916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2.xml><?xml version="1.0" encoding="utf-8"?>
<ds:datastoreItem xmlns:ds="http://schemas.openxmlformats.org/officeDocument/2006/customXml" ds:itemID="{EF1122DD-CA90-4EB5-952B-9551F00EDFB1}">
  <ds:schemaRefs>
    <ds:schemaRef ds:uri="http://schemas.microsoft.com/sharepoint/v3/contenttype/forms"/>
  </ds:schemaRefs>
</ds:datastoreItem>
</file>

<file path=customXml/itemProps583.xml><?xml version="1.0" encoding="utf-8"?>
<ds:datastoreItem xmlns:ds="http://schemas.openxmlformats.org/officeDocument/2006/customXml" ds:itemID="{02C35D79-BB50-4797-891B-62AF74A3078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84.xml><?xml version="1.0" encoding="utf-8"?>
<ds:datastoreItem xmlns:ds="http://schemas.openxmlformats.org/officeDocument/2006/customXml" ds:itemID="{70995A24-6296-4BF7-BC90-AF504D4EA46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5.xml><?xml version="1.0" encoding="utf-8"?>
<ds:datastoreItem xmlns:ds="http://schemas.openxmlformats.org/officeDocument/2006/customXml" ds:itemID="{77E0CCE2-5469-47D1-95FE-024789E4BD5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6.xml><?xml version="1.0" encoding="utf-8"?>
<ds:datastoreItem xmlns:ds="http://schemas.openxmlformats.org/officeDocument/2006/customXml" ds:itemID="{2BDE9D6E-F704-4528-A775-C52CAA9F031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87.xml><?xml version="1.0" encoding="utf-8"?>
<ds:datastoreItem xmlns:ds="http://schemas.openxmlformats.org/officeDocument/2006/customXml" ds:itemID="{410BDBA2-6FC2-4259-8091-D00FC8D27EA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8.xml><?xml version="1.0" encoding="utf-8"?>
<ds:datastoreItem xmlns:ds="http://schemas.openxmlformats.org/officeDocument/2006/customXml" ds:itemID="{44D90F68-B4C4-410C-8CD9-6EC29CF073F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9.xml><?xml version="1.0" encoding="utf-8"?>
<ds:datastoreItem xmlns:ds="http://schemas.openxmlformats.org/officeDocument/2006/customXml" ds:itemID="{F5ADC4FB-48AA-441E-8F72-4086D4911ADB}">
  <ds:schemaRefs>
    <ds:schemaRef ds:uri="http://schemas.microsoft.com/sharepoint/v3/contenttype/forms"/>
  </ds:schemaRefs>
</ds:datastoreItem>
</file>

<file path=customXml/itemProps59.xml><?xml version="1.0" encoding="utf-8"?>
<ds:datastoreItem xmlns:ds="http://schemas.openxmlformats.org/officeDocument/2006/customXml" ds:itemID="{F732257C-AA4A-408F-9D84-88FF23F727D2}">
  <ds:schemaRefs>
    <ds:schemaRef ds:uri="http://schemas.microsoft.com/sharepoint/v3/contenttype/forms"/>
  </ds:schemaRefs>
</ds:datastoreItem>
</file>

<file path=customXml/itemProps590.xml><?xml version="1.0" encoding="utf-8"?>
<ds:datastoreItem xmlns:ds="http://schemas.openxmlformats.org/officeDocument/2006/customXml" ds:itemID="{EE704080-0D81-4401-8F2D-3D019A08DC83}">
  <ds:schemaRefs>
    <ds:schemaRef ds:uri="http://schemas.microsoft.com/sharepoint/v3/contenttype/forms"/>
  </ds:schemaRefs>
</ds:datastoreItem>
</file>

<file path=customXml/itemProps591.xml><?xml version="1.0" encoding="utf-8"?>
<ds:datastoreItem xmlns:ds="http://schemas.openxmlformats.org/officeDocument/2006/customXml" ds:itemID="{97994ADE-24CD-4779-937B-15A92312B99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2.xml><?xml version="1.0" encoding="utf-8"?>
<ds:datastoreItem xmlns:ds="http://schemas.openxmlformats.org/officeDocument/2006/customXml" ds:itemID="{62277D33-99A5-4903-A779-75676E24369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3.xml><?xml version="1.0" encoding="utf-8"?>
<ds:datastoreItem xmlns:ds="http://schemas.openxmlformats.org/officeDocument/2006/customXml" ds:itemID="{1A958227-BA3B-4F93-9C0D-3655CB5076A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4.xml><?xml version="1.0" encoding="utf-8"?>
<ds:datastoreItem xmlns:ds="http://schemas.openxmlformats.org/officeDocument/2006/customXml" ds:itemID="{A41650FD-DD0E-42E4-8B5D-04D1B1B248D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5.xml><?xml version="1.0" encoding="utf-8"?>
<ds:datastoreItem xmlns:ds="http://schemas.openxmlformats.org/officeDocument/2006/customXml" ds:itemID="{B48C8990-DA89-4826-9728-02F1A02F245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6.xml><?xml version="1.0" encoding="utf-8"?>
<ds:datastoreItem xmlns:ds="http://schemas.openxmlformats.org/officeDocument/2006/customXml" ds:itemID="{1FDA04A7-FF9B-430F-B5E3-BA3A2A36BEE7}">
  <ds:schemaRefs>
    <ds:schemaRef ds:uri="http://schemas.microsoft.com/sharepoint/v3/contenttype/forms"/>
  </ds:schemaRefs>
</ds:datastoreItem>
</file>

<file path=customXml/itemProps597.xml><?xml version="1.0" encoding="utf-8"?>
<ds:datastoreItem xmlns:ds="http://schemas.openxmlformats.org/officeDocument/2006/customXml" ds:itemID="{1C4A669D-4533-41E0-8BB3-DCE103B15BF4}">
  <ds:schemaRefs>
    <ds:schemaRef ds:uri="http://schemas.microsoft.com/sharepoint/v3/contenttype/forms"/>
  </ds:schemaRefs>
</ds:datastoreItem>
</file>

<file path=customXml/itemProps598.xml><?xml version="1.0" encoding="utf-8"?>
<ds:datastoreItem xmlns:ds="http://schemas.openxmlformats.org/officeDocument/2006/customXml" ds:itemID="{D5E2F9D6-83F0-43C3-863F-6200492020F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9.xml><?xml version="1.0" encoding="utf-8"?>
<ds:datastoreItem xmlns:ds="http://schemas.openxmlformats.org/officeDocument/2006/customXml" ds:itemID="{1796F146-FF63-43DD-B8DD-6CB8122A280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.xml><?xml version="1.0" encoding="utf-8"?>
<ds:datastoreItem xmlns:ds="http://schemas.openxmlformats.org/officeDocument/2006/customXml" ds:itemID="{CCFA36E9-607D-455A-AEFE-76F63289E3C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0.xml><?xml version="1.0" encoding="utf-8"?>
<ds:datastoreItem xmlns:ds="http://schemas.openxmlformats.org/officeDocument/2006/customXml" ds:itemID="{E7DB2732-F830-4797-B159-97135C1DC29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00.xml><?xml version="1.0" encoding="utf-8"?>
<ds:datastoreItem xmlns:ds="http://schemas.openxmlformats.org/officeDocument/2006/customXml" ds:itemID="{ED3D3A37-4EFB-46C5-81D0-A5F18BD4C9F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01.xml><?xml version="1.0" encoding="utf-8"?>
<ds:datastoreItem xmlns:ds="http://schemas.openxmlformats.org/officeDocument/2006/customXml" ds:itemID="{27C04E32-F76C-4DA6-92C3-C3335DA9116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02.xml><?xml version="1.0" encoding="utf-8"?>
<ds:datastoreItem xmlns:ds="http://schemas.openxmlformats.org/officeDocument/2006/customXml" ds:itemID="{1CBC0F1E-F285-415C-8054-6E958B1D3A7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03.xml><?xml version="1.0" encoding="utf-8"?>
<ds:datastoreItem xmlns:ds="http://schemas.openxmlformats.org/officeDocument/2006/customXml" ds:itemID="{F49A9A7D-01C6-41B2-9CF8-C763C550E68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04.xml><?xml version="1.0" encoding="utf-8"?>
<ds:datastoreItem xmlns:ds="http://schemas.openxmlformats.org/officeDocument/2006/customXml" ds:itemID="{CF63D486-2EDC-40FC-A0FC-B7456A72478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05.xml><?xml version="1.0" encoding="utf-8"?>
<ds:datastoreItem xmlns:ds="http://schemas.openxmlformats.org/officeDocument/2006/customXml" ds:itemID="{9C32FA35-79F3-4574-AD7E-72E03BED66EC}">
  <ds:schemaRefs>
    <ds:schemaRef ds:uri="http://schemas.microsoft.com/sharepoint/v3/contenttype/forms"/>
  </ds:schemaRefs>
</ds:datastoreItem>
</file>

<file path=customXml/itemProps606.xml><?xml version="1.0" encoding="utf-8"?>
<ds:datastoreItem xmlns:ds="http://schemas.openxmlformats.org/officeDocument/2006/customXml" ds:itemID="{80D169B7-5C9C-406C-9F28-FF40600EDA99}">
  <ds:schemaRefs>
    <ds:schemaRef ds:uri="http://schemas.microsoft.com/sharepoint/v3/contenttype/forms"/>
  </ds:schemaRefs>
</ds:datastoreItem>
</file>

<file path=customXml/itemProps607.xml><?xml version="1.0" encoding="utf-8"?>
<ds:datastoreItem xmlns:ds="http://schemas.openxmlformats.org/officeDocument/2006/customXml" ds:itemID="{1759FA35-AE0B-4B00-8B60-1AB866148AB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08.xml><?xml version="1.0" encoding="utf-8"?>
<ds:datastoreItem xmlns:ds="http://schemas.openxmlformats.org/officeDocument/2006/customXml" ds:itemID="{29C75460-CAAE-4F16-9F57-5CE3774C8F68}">
  <ds:schemaRefs>
    <ds:schemaRef ds:uri="a5df8268-3b34-4463-a895-3ec8cfc42bd5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a65d7cdc-7643-4b47-b7ee-f2c9d8fd8459"/>
    <ds:schemaRef ds:uri="http://purl.org/dc/dcmitype/"/>
  </ds:schemaRefs>
</ds:datastoreItem>
</file>

<file path=customXml/itemProps609.xml><?xml version="1.0" encoding="utf-8"?>
<ds:datastoreItem xmlns:ds="http://schemas.openxmlformats.org/officeDocument/2006/customXml" ds:itemID="{4D5088B8-2E20-4F69-BBC8-7FBE5FBE5B6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1.xml><?xml version="1.0" encoding="utf-8"?>
<ds:datastoreItem xmlns:ds="http://schemas.openxmlformats.org/officeDocument/2006/customXml" ds:itemID="{1F2742B5-83B0-4D3B-9094-2C95CB058D5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10.xml><?xml version="1.0" encoding="utf-8"?>
<ds:datastoreItem xmlns:ds="http://schemas.openxmlformats.org/officeDocument/2006/customXml" ds:itemID="{A529CF7F-24A2-4838-8FD8-8759CBCBD78F}">
  <ds:schemaRefs>
    <ds:schemaRef ds:uri="http://schemas.microsoft.com/sharepoint/v3/contenttype/forms"/>
  </ds:schemaRefs>
</ds:datastoreItem>
</file>

<file path=customXml/itemProps611.xml><?xml version="1.0" encoding="utf-8"?>
<ds:datastoreItem xmlns:ds="http://schemas.openxmlformats.org/officeDocument/2006/customXml" ds:itemID="{EB1F73D2-A900-4AC9-BCEB-48307575A097}">
  <ds:schemaRefs>
    <ds:schemaRef ds:uri="http://schemas.microsoft.com/sharepoint/v3/contenttype/forms"/>
  </ds:schemaRefs>
</ds:datastoreItem>
</file>

<file path=customXml/itemProps612.xml><?xml version="1.0" encoding="utf-8"?>
<ds:datastoreItem xmlns:ds="http://schemas.openxmlformats.org/officeDocument/2006/customXml" ds:itemID="{6E8ACB38-D0EE-4B00-A790-FB3D0ADBFDA2}">
  <ds:schemaRefs>
    <ds:schemaRef ds:uri="http://schemas.microsoft.com/sharepoint/v3/contenttype/forms"/>
  </ds:schemaRefs>
</ds:datastoreItem>
</file>

<file path=customXml/itemProps613.xml><?xml version="1.0" encoding="utf-8"?>
<ds:datastoreItem xmlns:ds="http://schemas.openxmlformats.org/officeDocument/2006/customXml" ds:itemID="{71BF38D6-2CB9-46E5-849C-15AFE7F7198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14.xml><?xml version="1.0" encoding="utf-8"?>
<ds:datastoreItem xmlns:ds="http://schemas.openxmlformats.org/officeDocument/2006/customXml" ds:itemID="{85C4D0C3-0B79-4D90-9DB8-4B722C5636A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15.xml><?xml version="1.0" encoding="utf-8"?>
<ds:datastoreItem xmlns:ds="http://schemas.openxmlformats.org/officeDocument/2006/customXml" ds:itemID="{370CFE8A-4224-4417-83E4-F743F49178DE}">
  <ds:schemaRefs>
    <ds:schemaRef ds:uri="http://schemas.microsoft.com/sharepoint/v3/contenttype/forms"/>
  </ds:schemaRefs>
</ds:datastoreItem>
</file>

<file path=customXml/itemProps616.xml><?xml version="1.0" encoding="utf-8"?>
<ds:datastoreItem xmlns:ds="http://schemas.openxmlformats.org/officeDocument/2006/customXml" ds:itemID="{0B8373A6-F9B3-47E3-9650-3E01EFA8E49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17.xml><?xml version="1.0" encoding="utf-8"?>
<ds:datastoreItem xmlns:ds="http://schemas.openxmlformats.org/officeDocument/2006/customXml" ds:itemID="{8E44D539-001B-4E30-B9E2-C64A72BD65A8}">
  <ds:schemaRefs>
    <ds:schemaRef ds:uri="http://schemas.microsoft.com/sharepoint/v3/contenttype/forms"/>
  </ds:schemaRefs>
</ds:datastoreItem>
</file>

<file path=customXml/itemProps618.xml><?xml version="1.0" encoding="utf-8"?>
<ds:datastoreItem xmlns:ds="http://schemas.openxmlformats.org/officeDocument/2006/customXml" ds:itemID="{FD315473-4EF3-46D1-8090-AAD9D3254194}">
  <ds:schemaRefs>
    <ds:schemaRef ds:uri="http://schemas.microsoft.com/sharepoint/v3/contenttype/forms"/>
  </ds:schemaRefs>
</ds:datastoreItem>
</file>

<file path=customXml/itemProps619.xml><?xml version="1.0" encoding="utf-8"?>
<ds:datastoreItem xmlns:ds="http://schemas.openxmlformats.org/officeDocument/2006/customXml" ds:itemID="{A0F02030-42F9-455A-A1E0-A8565B533D7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2.xml><?xml version="1.0" encoding="utf-8"?>
<ds:datastoreItem xmlns:ds="http://schemas.openxmlformats.org/officeDocument/2006/customXml" ds:itemID="{8FB4460F-4AA4-476A-95ED-0D53B648C014}">
  <ds:schemaRefs>
    <ds:schemaRef ds:uri="http://schemas.microsoft.com/sharepoint/v3/contenttype/forms"/>
  </ds:schemaRefs>
</ds:datastoreItem>
</file>

<file path=customXml/itemProps620.xml><?xml version="1.0" encoding="utf-8"?>
<ds:datastoreItem xmlns:ds="http://schemas.openxmlformats.org/officeDocument/2006/customXml" ds:itemID="{BEEC5950-E51D-4975-96DB-48F0FDF6301F}">
  <ds:schemaRefs>
    <ds:schemaRef ds:uri="http://schemas.microsoft.com/sharepoint/v3/contenttype/forms"/>
  </ds:schemaRefs>
</ds:datastoreItem>
</file>

<file path=customXml/itemProps621.xml><?xml version="1.0" encoding="utf-8"?>
<ds:datastoreItem xmlns:ds="http://schemas.openxmlformats.org/officeDocument/2006/customXml" ds:itemID="{150611F9-2D8D-46AD-9787-1F4817F1025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22.xml><?xml version="1.0" encoding="utf-8"?>
<ds:datastoreItem xmlns:ds="http://schemas.openxmlformats.org/officeDocument/2006/customXml" ds:itemID="{AAEB0E7C-C92E-4A18-AB34-1876B32525F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23.xml><?xml version="1.0" encoding="utf-8"?>
<ds:datastoreItem xmlns:ds="http://schemas.openxmlformats.org/officeDocument/2006/customXml" ds:itemID="{6B838829-301C-4DF8-885A-9980E195844B}">
  <ds:schemaRefs>
    <ds:schemaRef ds:uri="http://schemas.microsoft.com/sharepoint/v3/contenttype/forms"/>
  </ds:schemaRefs>
</ds:datastoreItem>
</file>

<file path=customXml/itemProps624.xml><?xml version="1.0" encoding="utf-8"?>
<ds:datastoreItem xmlns:ds="http://schemas.openxmlformats.org/officeDocument/2006/customXml" ds:itemID="{06B7E9D3-0C84-4E57-871B-9D0E0E232C4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25.xml><?xml version="1.0" encoding="utf-8"?>
<ds:datastoreItem xmlns:ds="http://schemas.openxmlformats.org/officeDocument/2006/customXml" ds:itemID="{876A9B4C-D26E-4FAD-A201-A60C2F29663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26.xml><?xml version="1.0" encoding="utf-8"?>
<ds:datastoreItem xmlns:ds="http://schemas.openxmlformats.org/officeDocument/2006/customXml" ds:itemID="{35C2E72D-98FE-4C91-ADA2-C1321D983B4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27.xml><?xml version="1.0" encoding="utf-8"?>
<ds:datastoreItem xmlns:ds="http://schemas.openxmlformats.org/officeDocument/2006/customXml" ds:itemID="{5B0C927C-E651-4819-B6FC-2B0D3914F32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28.xml><?xml version="1.0" encoding="utf-8"?>
<ds:datastoreItem xmlns:ds="http://schemas.openxmlformats.org/officeDocument/2006/customXml" ds:itemID="{14F9EFC2-1EE3-4C00-A98F-19EAC764F4F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29.xml><?xml version="1.0" encoding="utf-8"?>
<ds:datastoreItem xmlns:ds="http://schemas.openxmlformats.org/officeDocument/2006/customXml" ds:itemID="{17AFBB94-9F56-4003-AB1C-FA30317960C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3.xml><?xml version="1.0" encoding="utf-8"?>
<ds:datastoreItem xmlns:ds="http://schemas.openxmlformats.org/officeDocument/2006/customXml" ds:itemID="{C4C6300A-6191-4134-92A3-9243BFE6AD9D}">
  <ds:schemaRefs>
    <ds:schemaRef ds:uri="http://schemas.microsoft.com/sharepoint/v3/contenttype/forms"/>
  </ds:schemaRefs>
</ds:datastoreItem>
</file>

<file path=customXml/itemProps630.xml><?xml version="1.0" encoding="utf-8"?>
<ds:datastoreItem xmlns:ds="http://schemas.openxmlformats.org/officeDocument/2006/customXml" ds:itemID="{26944C07-9444-4D77-9994-8BE7B6CF200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31.xml><?xml version="1.0" encoding="utf-8"?>
<ds:datastoreItem xmlns:ds="http://schemas.openxmlformats.org/officeDocument/2006/customXml" ds:itemID="{9372E1FA-8046-4980-AA08-A7BBDCB6050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32.xml><?xml version="1.0" encoding="utf-8"?>
<ds:datastoreItem xmlns:ds="http://schemas.openxmlformats.org/officeDocument/2006/customXml" ds:itemID="{1E5A8950-D03D-4729-A112-086666290A8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33.xml><?xml version="1.0" encoding="utf-8"?>
<ds:datastoreItem xmlns:ds="http://schemas.openxmlformats.org/officeDocument/2006/customXml" ds:itemID="{20B45F74-FC9D-444F-9E12-B4973069FE83}">
  <ds:schemaRefs>
    <ds:schemaRef ds:uri="http://purl.org/dc/terms/"/>
    <ds:schemaRef ds:uri="http://schemas.microsoft.com/office/2006/metadata/properties"/>
    <ds:schemaRef ds:uri="a65d7cdc-7643-4b47-b7ee-f2c9d8fd8459"/>
    <ds:schemaRef ds:uri="http://www.w3.org/XML/1998/namespace"/>
    <ds:schemaRef ds:uri="http://purl.org/dc/elements/1.1/"/>
    <ds:schemaRef ds:uri="http://purl.org/dc/dcmitype/"/>
    <ds:schemaRef ds:uri="http://schemas.microsoft.com/office/2006/documentManagement/types"/>
    <ds:schemaRef ds:uri="a5df8268-3b34-4463-a895-3ec8cfc42bd5"/>
    <ds:schemaRef ds:uri="http://schemas.microsoft.com/office/infopath/2007/PartnerControls"/>
    <ds:schemaRef ds:uri="http://schemas.openxmlformats.org/package/2006/metadata/core-properties"/>
  </ds:schemaRefs>
</ds:datastoreItem>
</file>

<file path=customXml/itemProps634.xml><?xml version="1.0" encoding="utf-8"?>
<ds:datastoreItem xmlns:ds="http://schemas.openxmlformats.org/officeDocument/2006/customXml" ds:itemID="{051A5A19-FD09-44C3-90F2-8D1E9B38BEF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35.xml><?xml version="1.0" encoding="utf-8"?>
<ds:datastoreItem xmlns:ds="http://schemas.openxmlformats.org/officeDocument/2006/customXml" ds:itemID="{CB8BF66E-999D-41D9-851E-B5C5CD12735F}">
  <ds:schemaRefs>
    <ds:schemaRef ds:uri="http://schemas.microsoft.com/sharepoint/v3/contenttype/forms"/>
  </ds:schemaRefs>
</ds:datastoreItem>
</file>

<file path=customXml/itemProps636.xml><?xml version="1.0" encoding="utf-8"?>
<ds:datastoreItem xmlns:ds="http://schemas.openxmlformats.org/officeDocument/2006/customXml" ds:itemID="{1BE293FF-5613-4875-ADA6-63DB27814C28}">
  <ds:schemaRefs>
    <ds:schemaRef ds:uri="http://schemas.microsoft.com/sharepoint/v3/contenttype/forms"/>
  </ds:schemaRefs>
</ds:datastoreItem>
</file>

<file path=customXml/itemProps637.xml><?xml version="1.0" encoding="utf-8"?>
<ds:datastoreItem xmlns:ds="http://schemas.openxmlformats.org/officeDocument/2006/customXml" ds:itemID="{F47FDFF7-C3B5-4828-8EC0-B180AFE30C4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38.xml><?xml version="1.0" encoding="utf-8"?>
<ds:datastoreItem xmlns:ds="http://schemas.openxmlformats.org/officeDocument/2006/customXml" ds:itemID="{EC3DB7C4-5267-43B6-A6B9-3D57014EFE2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39.xml><?xml version="1.0" encoding="utf-8"?>
<ds:datastoreItem xmlns:ds="http://schemas.openxmlformats.org/officeDocument/2006/customXml" ds:itemID="{C6F4F6E2-2EA6-413D-83A3-81F1D3E0723E}">
  <ds:schemaRefs>
    <ds:schemaRef ds:uri="http://schemas.microsoft.com/sharepoint/v3/contenttype/forms"/>
  </ds:schemaRefs>
</ds:datastoreItem>
</file>

<file path=customXml/itemProps64.xml><?xml version="1.0" encoding="utf-8"?>
<ds:datastoreItem xmlns:ds="http://schemas.openxmlformats.org/officeDocument/2006/customXml" ds:itemID="{C9A85980-A529-4985-9C5E-254118F0E8A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40.xml><?xml version="1.0" encoding="utf-8"?>
<ds:datastoreItem xmlns:ds="http://schemas.openxmlformats.org/officeDocument/2006/customXml" ds:itemID="{D62D5C9D-9425-4D2F-B098-D12DCCAB6D2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41.xml><?xml version="1.0" encoding="utf-8"?>
<ds:datastoreItem xmlns:ds="http://schemas.openxmlformats.org/officeDocument/2006/customXml" ds:itemID="{FED99F90-DCB2-4A35-984E-8621F0D3E067}">
  <ds:schemaRefs>
    <ds:schemaRef ds:uri="http://schemas.microsoft.com/sharepoint/v3/contenttype/forms"/>
  </ds:schemaRefs>
</ds:datastoreItem>
</file>

<file path=customXml/itemProps642.xml><?xml version="1.0" encoding="utf-8"?>
<ds:datastoreItem xmlns:ds="http://schemas.openxmlformats.org/officeDocument/2006/customXml" ds:itemID="{EC45D0F7-4352-4977-88DA-4E2F13A359A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43.xml><?xml version="1.0" encoding="utf-8"?>
<ds:datastoreItem xmlns:ds="http://schemas.openxmlformats.org/officeDocument/2006/customXml" ds:itemID="{64B8AE04-D446-461E-96D5-48C97AA3128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44.xml><?xml version="1.0" encoding="utf-8"?>
<ds:datastoreItem xmlns:ds="http://schemas.openxmlformats.org/officeDocument/2006/customXml" ds:itemID="{5B5F8FB6-8DEF-45B1-9384-1C7EB72FA3D5}">
  <ds:schemaRefs>
    <ds:schemaRef ds:uri="http://schemas.microsoft.com/sharepoint/v3/contenttype/forms"/>
  </ds:schemaRefs>
</ds:datastoreItem>
</file>

<file path=customXml/itemProps645.xml><?xml version="1.0" encoding="utf-8"?>
<ds:datastoreItem xmlns:ds="http://schemas.openxmlformats.org/officeDocument/2006/customXml" ds:itemID="{7CAC3229-1D45-459C-91A9-8C5BEBE25CF1}">
  <ds:schemaRefs>
    <ds:schemaRef ds:uri="http://schemas.microsoft.com/sharepoint/v3/contenttype/forms"/>
  </ds:schemaRefs>
</ds:datastoreItem>
</file>

<file path=customXml/itemProps646.xml><?xml version="1.0" encoding="utf-8"?>
<ds:datastoreItem xmlns:ds="http://schemas.openxmlformats.org/officeDocument/2006/customXml" ds:itemID="{6A260655-C95A-4C6B-BA88-85C7CEC9254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47.xml><?xml version="1.0" encoding="utf-8"?>
<ds:datastoreItem xmlns:ds="http://schemas.openxmlformats.org/officeDocument/2006/customXml" ds:itemID="{F5178C9D-7227-4A04-BCB7-99602D1C776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48.xml><?xml version="1.0" encoding="utf-8"?>
<ds:datastoreItem xmlns:ds="http://schemas.openxmlformats.org/officeDocument/2006/customXml" ds:itemID="{AD6C1ACD-3B98-4CA6-A1A7-49F546BA1F6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49.xml><?xml version="1.0" encoding="utf-8"?>
<ds:datastoreItem xmlns:ds="http://schemas.openxmlformats.org/officeDocument/2006/customXml" ds:itemID="{E69FE805-BD65-489D-A089-D6B6022020A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5.xml><?xml version="1.0" encoding="utf-8"?>
<ds:datastoreItem xmlns:ds="http://schemas.openxmlformats.org/officeDocument/2006/customXml" ds:itemID="{6C4E5A14-7E6A-4D5E-B1B3-EF1F3D2D15A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50.xml><?xml version="1.0" encoding="utf-8"?>
<ds:datastoreItem xmlns:ds="http://schemas.openxmlformats.org/officeDocument/2006/customXml" ds:itemID="{77A908AB-F3A0-4621-A43F-4597CECF1271}">
  <ds:schemaRefs>
    <ds:schemaRef ds:uri="http://schemas.microsoft.com/sharepoint/v3/contenttype/forms"/>
  </ds:schemaRefs>
</ds:datastoreItem>
</file>

<file path=customXml/itemProps651.xml><?xml version="1.0" encoding="utf-8"?>
<ds:datastoreItem xmlns:ds="http://schemas.openxmlformats.org/officeDocument/2006/customXml" ds:itemID="{718362D0-DD0F-45AC-AD94-FAE1C1FFCC4D}">
  <ds:schemaRefs>
    <ds:schemaRef ds:uri="http://schemas.microsoft.com/sharepoint/v3/contenttype/forms"/>
  </ds:schemaRefs>
</ds:datastoreItem>
</file>

<file path=customXml/itemProps652.xml><?xml version="1.0" encoding="utf-8"?>
<ds:datastoreItem xmlns:ds="http://schemas.openxmlformats.org/officeDocument/2006/customXml" ds:itemID="{F8DFC88B-DF3A-4B9E-9D6F-089FBACD9970}">
  <ds:schemaRefs>
    <ds:schemaRef ds:uri="http://schemas.microsoft.com/sharepoint/v3/contenttype/forms"/>
  </ds:schemaRefs>
</ds:datastoreItem>
</file>

<file path=customXml/itemProps653.xml><?xml version="1.0" encoding="utf-8"?>
<ds:datastoreItem xmlns:ds="http://schemas.openxmlformats.org/officeDocument/2006/customXml" ds:itemID="{9BFCD050-AF2E-49BE-A2F7-E8974011E71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54.xml><?xml version="1.0" encoding="utf-8"?>
<ds:datastoreItem xmlns:ds="http://schemas.openxmlformats.org/officeDocument/2006/customXml" ds:itemID="{550E580A-359B-426A-95CA-7A44DAF6AF0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55.xml><?xml version="1.0" encoding="utf-8"?>
<ds:datastoreItem xmlns:ds="http://schemas.openxmlformats.org/officeDocument/2006/customXml" ds:itemID="{C6FD212A-A47A-4769-AF5F-3F23AAE23479}">
  <ds:schemaRefs>
    <ds:schemaRef ds:uri="http://schemas.microsoft.com/sharepoint/v3/contenttype/forms"/>
  </ds:schemaRefs>
</ds:datastoreItem>
</file>

<file path=customXml/itemProps656.xml><?xml version="1.0" encoding="utf-8"?>
<ds:datastoreItem xmlns:ds="http://schemas.openxmlformats.org/officeDocument/2006/customXml" ds:itemID="{B3F98D4B-C8DE-46D6-8063-B348CA7161A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57.xml><?xml version="1.0" encoding="utf-8"?>
<ds:datastoreItem xmlns:ds="http://schemas.openxmlformats.org/officeDocument/2006/customXml" ds:itemID="{EC86013F-7365-4DD7-AB82-D60723DABD8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58.xml><?xml version="1.0" encoding="utf-8"?>
<ds:datastoreItem xmlns:ds="http://schemas.openxmlformats.org/officeDocument/2006/customXml" ds:itemID="{59668907-A47D-4DB9-9F89-7B86F5D1A7E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59.xml><?xml version="1.0" encoding="utf-8"?>
<ds:datastoreItem xmlns:ds="http://schemas.openxmlformats.org/officeDocument/2006/customXml" ds:itemID="{37BCBE10-EBDE-4496-9616-3839F771605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6.xml><?xml version="1.0" encoding="utf-8"?>
<ds:datastoreItem xmlns:ds="http://schemas.openxmlformats.org/officeDocument/2006/customXml" ds:itemID="{34F09F56-6AB5-4B9F-896D-5E252196EF69}">
  <ds:schemaRefs>
    <ds:schemaRef ds:uri="http://schemas.microsoft.com/sharepoint/v3/contenttype/forms"/>
  </ds:schemaRefs>
</ds:datastoreItem>
</file>

<file path=customXml/itemProps660.xml><?xml version="1.0" encoding="utf-8"?>
<ds:datastoreItem xmlns:ds="http://schemas.openxmlformats.org/officeDocument/2006/customXml" ds:itemID="{2E8D9CB0-F727-4EF6-BFF1-397113E6F53B}">
  <ds:schemaRefs>
    <ds:schemaRef ds:uri="http://schemas.microsoft.com/sharepoint/v3/contenttype/forms"/>
  </ds:schemaRefs>
</ds:datastoreItem>
</file>

<file path=customXml/itemProps661.xml><?xml version="1.0" encoding="utf-8"?>
<ds:datastoreItem xmlns:ds="http://schemas.openxmlformats.org/officeDocument/2006/customXml" ds:itemID="{F8A83B6F-4987-4F90-8031-F867563BD22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62.xml><?xml version="1.0" encoding="utf-8"?>
<ds:datastoreItem xmlns:ds="http://schemas.openxmlformats.org/officeDocument/2006/customXml" ds:itemID="{5E69663B-B277-41BC-B709-5665FD711B3E}">
  <ds:schemaRefs>
    <ds:schemaRef ds:uri="http://schemas.microsoft.com/sharepoint/v3/contenttype/forms"/>
  </ds:schemaRefs>
</ds:datastoreItem>
</file>

<file path=customXml/itemProps663.xml><?xml version="1.0" encoding="utf-8"?>
<ds:datastoreItem xmlns:ds="http://schemas.openxmlformats.org/officeDocument/2006/customXml" ds:itemID="{33F7C8BA-BCCD-40E9-9FE8-6B8D2C11257F}">
  <ds:schemaRefs>
    <ds:schemaRef ds:uri="http://schemas.microsoft.com/sharepoint/v3/contenttype/forms"/>
  </ds:schemaRefs>
</ds:datastoreItem>
</file>

<file path=customXml/itemProps664.xml><?xml version="1.0" encoding="utf-8"?>
<ds:datastoreItem xmlns:ds="http://schemas.openxmlformats.org/officeDocument/2006/customXml" ds:itemID="{6B5B0A17-5894-48CA-9B79-CBD3C157A09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65.xml><?xml version="1.0" encoding="utf-8"?>
<ds:datastoreItem xmlns:ds="http://schemas.openxmlformats.org/officeDocument/2006/customXml" ds:itemID="{3AEBE338-8578-44A9-AEF7-96EFBE9B166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66.xml><?xml version="1.0" encoding="utf-8"?>
<ds:datastoreItem xmlns:ds="http://schemas.openxmlformats.org/officeDocument/2006/customXml" ds:itemID="{0F7161DE-9AD0-4791-9281-B7F8976A88B0}">
  <ds:schemaRefs>
    <ds:schemaRef ds:uri="http://schemas.microsoft.com/sharepoint/v3/contenttype/forms"/>
  </ds:schemaRefs>
</ds:datastoreItem>
</file>

<file path=customXml/itemProps667.xml><?xml version="1.0" encoding="utf-8"?>
<ds:datastoreItem xmlns:ds="http://schemas.openxmlformats.org/officeDocument/2006/customXml" ds:itemID="{CB070D91-8E86-473D-B78C-E6C054A50B4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68.xml><?xml version="1.0" encoding="utf-8"?>
<ds:datastoreItem xmlns:ds="http://schemas.openxmlformats.org/officeDocument/2006/customXml" ds:itemID="{D706ABC3-181A-485D-99B9-E7DDE27528F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69.xml><?xml version="1.0" encoding="utf-8"?>
<ds:datastoreItem xmlns:ds="http://schemas.openxmlformats.org/officeDocument/2006/customXml" ds:itemID="{D90059D6-9C9E-4FDE-AB6B-D072C58581D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7.xml><?xml version="1.0" encoding="utf-8"?>
<ds:datastoreItem xmlns:ds="http://schemas.openxmlformats.org/officeDocument/2006/customXml" ds:itemID="{A92A915E-93BE-4B6E-862A-26A74CFC540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70.xml><?xml version="1.0" encoding="utf-8"?>
<ds:datastoreItem xmlns:ds="http://schemas.openxmlformats.org/officeDocument/2006/customXml" ds:itemID="{4B7844F6-55C7-489A-A056-E4C90CD4FB59}">
  <ds:schemaRefs>
    <ds:schemaRef ds:uri="http://schemas.microsoft.com/sharepoint/v3/contenttype/forms"/>
  </ds:schemaRefs>
</ds:datastoreItem>
</file>

<file path=customXml/itemProps671.xml><?xml version="1.0" encoding="utf-8"?>
<ds:datastoreItem xmlns:ds="http://schemas.openxmlformats.org/officeDocument/2006/customXml" ds:itemID="{91875DE0-3A8C-401F-B451-886B38F71550}">
  <ds:schemaRefs>
    <ds:schemaRef ds:uri="http://schemas.microsoft.com/sharepoint/v3/contenttype/forms"/>
  </ds:schemaRefs>
</ds:datastoreItem>
</file>

<file path=customXml/itemProps672.xml><?xml version="1.0" encoding="utf-8"?>
<ds:datastoreItem xmlns:ds="http://schemas.openxmlformats.org/officeDocument/2006/customXml" ds:itemID="{6E0DAF82-681B-4BF8-B6B5-871C5D43953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73.xml><?xml version="1.0" encoding="utf-8"?>
<ds:datastoreItem xmlns:ds="http://schemas.openxmlformats.org/officeDocument/2006/customXml" ds:itemID="{1C46BC9C-E160-4909-8948-AA27DF5F4F9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74.xml><?xml version="1.0" encoding="utf-8"?>
<ds:datastoreItem xmlns:ds="http://schemas.openxmlformats.org/officeDocument/2006/customXml" ds:itemID="{030AE0A9-CF36-4D8C-A6CB-A826ED70FD9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75.xml><?xml version="1.0" encoding="utf-8"?>
<ds:datastoreItem xmlns:ds="http://schemas.openxmlformats.org/officeDocument/2006/customXml" ds:itemID="{6CE55D18-7023-4462-BD83-AA830BD93DD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76.xml><?xml version="1.0" encoding="utf-8"?>
<ds:datastoreItem xmlns:ds="http://schemas.openxmlformats.org/officeDocument/2006/customXml" ds:itemID="{27359DF1-3AD2-4539-97BD-EF5086F17CA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77.xml><?xml version="1.0" encoding="utf-8"?>
<ds:datastoreItem xmlns:ds="http://schemas.openxmlformats.org/officeDocument/2006/customXml" ds:itemID="{B15F8BCD-1107-4993-BA25-26743975CF9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78.xml><?xml version="1.0" encoding="utf-8"?>
<ds:datastoreItem xmlns:ds="http://schemas.openxmlformats.org/officeDocument/2006/customXml" ds:itemID="{F0D84F06-A989-4175-8CB8-2157913E392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79.xml><?xml version="1.0" encoding="utf-8"?>
<ds:datastoreItem xmlns:ds="http://schemas.openxmlformats.org/officeDocument/2006/customXml" ds:itemID="{19EFDE08-E584-4875-962F-7E1CCB54F0C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8.xml><?xml version="1.0" encoding="utf-8"?>
<ds:datastoreItem xmlns:ds="http://schemas.openxmlformats.org/officeDocument/2006/customXml" ds:itemID="{4D6325F9-1BFD-49F4-8A05-63C2AA61E78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80.xml><?xml version="1.0" encoding="utf-8"?>
<ds:datastoreItem xmlns:ds="http://schemas.openxmlformats.org/officeDocument/2006/customXml" ds:itemID="{1FF5170A-29E4-42A9-A8E2-9DF79C0E61B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81.xml><?xml version="1.0" encoding="utf-8"?>
<ds:datastoreItem xmlns:ds="http://schemas.openxmlformats.org/officeDocument/2006/customXml" ds:itemID="{FCF8463A-0E1F-4599-B359-1D7063E8698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82.xml><?xml version="1.0" encoding="utf-8"?>
<ds:datastoreItem xmlns:ds="http://schemas.openxmlformats.org/officeDocument/2006/customXml" ds:itemID="{5ACDC88D-5FAB-4FA5-A05B-1A5A15CFC1B1}">
  <ds:schemaRefs>
    <ds:schemaRef ds:uri="a5df8268-3b34-4463-a895-3ec8cfc42bd5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a65d7cdc-7643-4b47-b7ee-f2c9d8fd8459"/>
    <ds:schemaRef ds:uri="http://purl.org/dc/dcmitype/"/>
  </ds:schemaRefs>
</ds:datastoreItem>
</file>

<file path=customXml/itemProps683.xml><?xml version="1.0" encoding="utf-8"?>
<ds:datastoreItem xmlns:ds="http://schemas.openxmlformats.org/officeDocument/2006/customXml" ds:itemID="{77626469-BE4D-42B5-ABF0-DCFE388FC9E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84.xml><?xml version="1.0" encoding="utf-8"?>
<ds:datastoreItem xmlns:ds="http://schemas.openxmlformats.org/officeDocument/2006/customXml" ds:itemID="{1EFA475F-1E51-4301-A487-845588249C9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85.xml><?xml version="1.0" encoding="utf-8"?>
<ds:datastoreItem xmlns:ds="http://schemas.openxmlformats.org/officeDocument/2006/customXml" ds:itemID="{90DD27CF-D496-422B-A49E-358E4FEB381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86.xml><?xml version="1.0" encoding="utf-8"?>
<ds:datastoreItem xmlns:ds="http://schemas.openxmlformats.org/officeDocument/2006/customXml" ds:itemID="{AE54F3CE-B7BE-4F27-961F-DD40EFD3220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87.xml><?xml version="1.0" encoding="utf-8"?>
<ds:datastoreItem xmlns:ds="http://schemas.openxmlformats.org/officeDocument/2006/customXml" ds:itemID="{EB2174B6-5678-4DC0-9F35-ADEB9349D87A}">
  <ds:schemaRefs>
    <ds:schemaRef ds:uri="http://schemas.microsoft.com/sharepoint/v3/contenttype/forms"/>
  </ds:schemaRefs>
</ds:datastoreItem>
</file>

<file path=customXml/itemProps688.xml><?xml version="1.0" encoding="utf-8"?>
<ds:datastoreItem xmlns:ds="http://schemas.openxmlformats.org/officeDocument/2006/customXml" ds:itemID="{04493262-D10D-4890-939E-0A0F5E15E37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89.xml><?xml version="1.0" encoding="utf-8"?>
<ds:datastoreItem xmlns:ds="http://schemas.openxmlformats.org/officeDocument/2006/customXml" ds:itemID="{DC39B4E7-D439-4548-8745-B665DFB96FD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9.xml><?xml version="1.0" encoding="utf-8"?>
<ds:datastoreItem xmlns:ds="http://schemas.openxmlformats.org/officeDocument/2006/customXml" ds:itemID="{2D07CE76-3670-4EE2-9B49-F6F1DADF189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90.xml><?xml version="1.0" encoding="utf-8"?>
<ds:datastoreItem xmlns:ds="http://schemas.openxmlformats.org/officeDocument/2006/customXml" ds:itemID="{A331D66E-00B1-4DA5-8BD5-BC185F96C70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91.xml><?xml version="1.0" encoding="utf-8"?>
<ds:datastoreItem xmlns:ds="http://schemas.openxmlformats.org/officeDocument/2006/customXml" ds:itemID="{C63E0D30-0B1A-41C0-B548-269630823BC9}">
  <ds:schemaRefs>
    <ds:schemaRef ds:uri="http://schemas.microsoft.com/sharepoint/v3/contenttype/forms"/>
  </ds:schemaRefs>
</ds:datastoreItem>
</file>

<file path=customXml/itemProps692.xml><?xml version="1.0" encoding="utf-8"?>
<ds:datastoreItem xmlns:ds="http://schemas.openxmlformats.org/officeDocument/2006/customXml" ds:itemID="{1204741C-A782-4F4D-9A7D-096895AEF29B}">
  <ds:schemaRefs>
    <ds:schemaRef ds:uri="http://schemas.microsoft.com/sharepoint/v3/contenttype/forms"/>
  </ds:schemaRefs>
</ds:datastoreItem>
</file>

<file path=customXml/itemProps693.xml><?xml version="1.0" encoding="utf-8"?>
<ds:datastoreItem xmlns:ds="http://schemas.openxmlformats.org/officeDocument/2006/customXml" ds:itemID="{1A7F21E8-E2C3-4790-BD0A-5AFBAB07A8D2}">
  <ds:schemaRefs>
    <ds:schemaRef ds:uri="http://schemas.microsoft.com/sharepoint/v3/contenttype/forms"/>
  </ds:schemaRefs>
</ds:datastoreItem>
</file>

<file path=customXml/itemProps694.xml><?xml version="1.0" encoding="utf-8"?>
<ds:datastoreItem xmlns:ds="http://schemas.openxmlformats.org/officeDocument/2006/customXml" ds:itemID="{15219C71-5F4A-488C-9D85-91517D8D2BC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95.xml><?xml version="1.0" encoding="utf-8"?>
<ds:datastoreItem xmlns:ds="http://schemas.openxmlformats.org/officeDocument/2006/customXml" ds:itemID="{F354AF8B-B6C0-4246-AD64-EF13B7F2FB9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96.xml><?xml version="1.0" encoding="utf-8"?>
<ds:datastoreItem xmlns:ds="http://schemas.openxmlformats.org/officeDocument/2006/customXml" ds:itemID="{637DE490-DC93-4A18-A7AC-82AA137BD66B}">
  <ds:schemaRefs>
    <ds:schemaRef ds:uri="http://schemas.microsoft.com/sharepoint/v3/contenttype/forms"/>
  </ds:schemaRefs>
</ds:datastoreItem>
</file>

<file path=customXml/itemProps697.xml><?xml version="1.0" encoding="utf-8"?>
<ds:datastoreItem xmlns:ds="http://schemas.openxmlformats.org/officeDocument/2006/customXml" ds:itemID="{1E2F97A3-C3A7-44C8-8D81-075F7CE6CE37}">
  <ds:schemaRefs>
    <ds:schemaRef ds:uri="http://schemas.microsoft.com/sharepoint/v3/contenttype/forms"/>
  </ds:schemaRefs>
</ds:datastoreItem>
</file>

<file path=customXml/itemProps698.xml><?xml version="1.0" encoding="utf-8"?>
<ds:datastoreItem xmlns:ds="http://schemas.openxmlformats.org/officeDocument/2006/customXml" ds:itemID="{EFD54DDA-FA87-4475-B8C5-B01D4E468118}">
  <ds:schemaRefs>
    <ds:schemaRef ds:uri="http://schemas.microsoft.com/sharepoint/v3/contenttype/forms"/>
  </ds:schemaRefs>
</ds:datastoreItem>
</file>

<file path=customXml/itemProps699.xml><?xml version="1.0" encoding="utf-8"?>
<ds:datastoreItem xmlns:ds="http://schemas.openxmlformats.org/officeDocument/2006/customXml" ds:itemID="{BA6149FE-63FA-4329-AB86-7AA86819867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.xml><?xml version="1.0" encoding="utf-8"?>
<ds:datastoreItem xmlns:ds="http://schemas.openxmlformats.org/officeDocument/2006/customXml" ds:itemID="{F5739A4D-0391-489D-A632-D1D0705523CC}">
  <ds:schemaRefs>
    <ds:schemaRef ds:uri="http://schemas.microsoft.com/sharepoint/v3/contenttype/forms"/>
  </ds:schemaRefs>
</ds:datastoreItem>
</file>

<file path=customXml/itemProps70.xml><?xml version="1.0" encoding="utf-8"?>
<ds:datastoreItem xmlns:ds="http://schemas.openxmlformats.org/officeDocument/2006/customXml" ds:itemID="{04844E96-3203-4B94-9909-56509385B5F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00.xml><?xml version="1.0" encoding="utf-8"?>
<ds:datastoreItem xmlns:ds="http://schemas.openxmlformats.org/officeDocument/2006/customXml" ds:itemID="{08797359-9295-4656-8315-F0DD2C2E35D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01.xml><?xml version="1.0" encoding="utf-8"?>
<ds:datastoreItem xmlns:ds="http://schemas.openxmlformats.org/officeDocument/2006/customXml" ds:itemID="{42E6A740-3C29-4359-96CF-42BB6EECDB6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02.xml><?xml version="1.0" encoding="utf-8"?>
<ds:datastoreItem xmlns:ds="http://schemas.openxmlformats.org/officeDocument/2006/customXml" ds:itemID="{3579587B-B277-4E52-BB65-FB801978315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03.xml><?xml version="1.0" encoding="utf-8"?>
<ds:datastoreItem xmlns:ds="http://schemas.openxmlformats.org/officeDocument/2006/customXml" ds:itemID="{4EAF00D4-76C4-4413-B74C-23CD5DA8CCE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04.xml><?xml version="1.0" encoding="utf-8"?>
<ds:datastoreItem xmlns:ds="http://schemas.openxmlformats.org/officeDocument/2006/customXml" ds:itemID="{FC5917FB-0606-4E0F-A2E8-B57BC63C388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05.xml><?xml version="1.0" encoding="utf-8"?>
<ds:datastoreItem xmlns:ds="http://schemas.openxmlformats.org/officeDocument/2006/customXml" ds:itemID="{8F640F9D-2693-4502-9966-FF379A02D62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06.xml><?xml version="1.0" encoding="utf-8"?>
<ds:datastoreItem xmlns:ds="http://schemas.openxmlformats.org/officeDocument/2006/customXml" ds:itemID="{742BD8C7-5BFE-453B-9056-9ABFDF0474C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07.xml><?xml version="1.0" encoding="utf-8"?>
<ds:datastoreItem xmlns:ds="http://schemas.openxmlformats.org/officeDocument/2006/customXml" ds:itemID="{1C831944-33C1-4255-A318-26EAAC1D3D9D}">
  <ds:schemaRefs>
    <ds:schemaRef ds:uri="http://schemas.microsoft.com/sharepoint/v3/contenttype/forms"/>
  </ds:schemaRefs>
</ds:datastoreItem>
</file>

<file path=customXml/itemProps708.xml><?xml version="1.0" encoding="utf-8"?>
<ds:datastoreItem xmlns:ds="http://schemas.openxmlformats.org/officeDocument/2006/customXml" ds:itemID="{973677D5-7CE1-4922-AFDD-EA15FA4FD017}">
  <ds:schemaRefs>
    <ds:schemaRef ds:uri="http://schemas.microsoft.com/sharepoint/v3/contenttype/forms"/>
  </ds:schemaRefs>
</ds:datastoreItem>
</file>

<file path=customXml/itemProps709.xml><?xml version="1.0" encoding="utf-8"?>
<ds:datastoreItem xmlns:ds="http://schemas.openxmlformats.org/officeDocument/2006/customXml" ds:itemID="{2E0EEA47-9413-44F6-8676-A54277A0A10B}">
  <ds:schemaRefs>
    <ds:schemaRef ds:uri="http://schemas.microsoft.com/sharepoint/v3/contenttype/forms"/>
  </ds:schemaRefs>
</ds:datastoreItem>
</file>

<file path=customXml/itemProps71.xml><?xml version="1.0" encoding="utf-8"?>
<ds:datastoreItem xmlns:ds="http://schemas.openxmlformats.org/officeDocument/2006/customXml" ds:itemID="{42627918-E5BB-445F-9981-B0731E6DF35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10.xml><?xml version="1.0" encoding="utf-8"?>
<ds:datastoreItem xmlns:ds="http://schemas.openxmlformats.org/officeDocument/2006/customXml" ds:itemID="{7322926F-773C-4B30-B858-E9A658E9064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11.xml><?xml version="1.0" encoding="utf-8"?>
<ds:datastoreItem xmlns:ds="http://schemas.openxmlformats.org/officeDocument/2006/customXml" ds:itemID="{1139EDEC-93FE-4EBF-AC66-4838C133320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12.xml><?xml version="1.0" encoding="utf-8"?>
<ds:datastoreItem xmlns:ds="http://schemas.openxmlformats.org/officeDocument/2006/customXml" ds:itemID="{30D7D435-4A10-4AAD-B511-8FA49C29021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13.xml><?xml version="1.0" encoding="utf-8"?>
<ds:datastoreItem xmlns:ds="http://schemas.openxmlformats.org/officeDocument/2006/customXml" ds:itemID="{62689E4A-48F3-4E85-B108-9131AEAD0FD8}">
  <ds:schemaRefs>
    <ds:schemaRef ds:uri="http://schemas.microsoft.com/sharepoint/v3/contenttype/forms"/>
  </ds:schemaRefs>
</ds:datastoreItem>
</file>

<file path=customXml/itemProps714.xml><?xml version="1.0" encoding="utf-8"?>
<ds:datastoreItem xmlns:ds="http://schemas.openxmlformats.org/officeDocument/2006/customXml" ds:itemID="{40A982B5-7703-45BE-BC1D-EA54383B41F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15.xml><?xml version="1.0" encoding="utf-8"?>
<ds:datastoreItem xmlns:ds="http://schemas.openxmlformats.org/officeDocument/2006/customXml" ds:itemID="{93F26848-E23A-4D4B-BC35-10704C7B8B8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16.xml><?xml version="1.0" encoding="utf-8"?>
<ds:datastoreItem xmlns:ds="http://schemas.openxmlformats.org/officeDocument/2006/customXml" ds:itemID="{E9842C86-7D52-4CD7-ACAB-949595B58CBA}">
  <ds:schemaRefs>
    <ds:schemaRef ds:uri="http://schemas.microsoft.com/sharepoint/v3/contenttype/forms"/>
  </ds:schemaRefs>
</ds:datastoreItem>
</file>

<file path=customXml/itemProps717.xml><?xml version="1.0" encoding="utf-8"?>
<ds:datastoreItem xmlns:ds="http://schemas.openxmlformats.org/officeDocument/2006/customXml" ds:itemID="{45E08176-234A-4C92-B6FC-5C35611EC09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18.xml><?xml version="1.0" encoding="utf-8"?>
<ds:datastoreItem xmlns:ds="http://schemas.openxmlformats.org/officeDocument/2006/customXml" ds:itemID="{06D78211-4100-4C85-824B-50CE6A0E4FED}">
  <ds:schemaRefs>
    <ds:schemaRef ds:uri="http://schemas.microsoft.com/sharepoint/v3/contenttype/forms"/>
  </ds:schemaRefs>
</ds:datastoreItem>
</file>

<file path=customXml/itemProps719.xml><?xml version="1.0" encoding="utf-8"?>
<ds:datastoreItem xmlns:ds="http://schemas.openxmlformats.org/officeDocument/2006/customXml" ds:itemID="{0A5B2615-DDFD-422A-9C32-9123E6D6946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2.xml><?xml version="1.0" encoding="utf-8"?>
<ds:datastoreItem xmlns:ds="http://schemas.openxmlformats.org/officeDocument/2006/customXml" ds:itemID="{3B8FC12B-B8D2-48A6-A171-7C1482FED73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20.xml><?xml version="1.0" encoding="utf-8"?>
<ds:datastoreItem xmlns:ds="http://schemas.openxmlformats.org/officeDocument/2006/customXml" ds:itemID="{4B7A54AE-BB18-4A5E-9E1C-C6EF8A5EF26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21.xml><?xml version="1.0" encoding="utf-8"?>
<ds:datastoreItem xmlns:ds="http://schemas.openxmlformats.org/officeDocument/2006/customXml" ds:itemID="{F8344FE7-96A4-492D-B3A0-AC0D30AF7D16}">
  <ds:schemaRefs>
    <ds:schemaRef ds:uri="http://schemas.microsoft.com/sharepoint/v3/contenttype/forms"/>
  </ds:schemaRefs>
</ds:datastoreItem>
</file>

<file path=customXml/itemProps722.xml><?xml version="1.0" encoding="utf-8"?>
<ds:datastoreItem xmlns:ds="http://schemas.openxmlformats.org/officeDocument/2006/customXml" ds:itemID="{19A5BF31-791D-4C72-95FD-81DF349A3F4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23.xml><?xml version="1.0" encoding="utf-8"?>
<ds:datastoreItem xmlns:ds="http://schemas.openxmlformats.org/officeDocument/2006/customXml" ds:itemID="{846BBD01-D3B3-40DA-80F3-BD16D02DA68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24.xml><?xml version="1.0" encoding="utf-8"?>
<ds:datastoreItem xmlns:ds="http://schemas.openxmlformats.org/officeDocument/2006/customXml" ds:itemID="{7E629C60-5388-46DB-A15F-6E22EE85CC38}">
  <ds:schemaRefs>
    <ds:schemaRef ds:uri="http://schemas.microsoft.com/sharepoint/v3/contenttype/forms"/>
  </ds:schemaRefs>
</ds:datastoreItem>
</file>

<file path=customXml/itemProps725.xml><?xml version="1.0" encoding="utf-8"?>
<ds:datastoreItem xmlns:ds="http://schemas.openxmlformats.org/officeDocument/2006/customXml" ds:itemID="{05674815-19AF-4529-A82A-EB7640EBE08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26.xml><?xml version="1.0" encoding="utf-8"?>
<ds:datastoreItem xmlns:ds="http://schemas.openxmlformats.org/officeDocument/2006/customXml" ds:itemID="{A4E5FDA1-8EAA-4F16-B82F-0FB4E71E39B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27.xml><?xml version="1.0" encoding="utf-8"?>
<ds:datastoreItem xmlns:ds="http://schemas.openxmlformats.org/officeDocument/2006/customXml" ds:itemID="{B886A639-0729-4AA1-926A-A67A3728737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28.xml><?xml version="1.0" encoding="utf-8"?>
<ds:datastoreItem xmlns:ds="http://schemas.openxmlformats.org/officeDocument/2006/customXml" ds:itemID="{DFCF96EC-6A26-4D30-9124-15E9E3CA9A3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29.xml><?xml version="1.0" encoding="utf-8"?>
<ds:datastoreItem xmlns:ds="http://schemas.openxmlformats.org/officeDocument/2006/customXml" ds:itemID="{1D2FA828-EF4C-4A6F-970F-2999C8C534C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3.xml><?xml version="1.0" encoding="utf-8"?>
<ds:datastoreItem xmlns:ds="http://schemas.openxmlformats.org/officeDocument/2006/customXml" ds:itemID="{0E401CB2-EDDF-43D6-ADF1-3C63F4932DA8}">
  <ds:schemaRefs>
    <ds:schemaRef ds:uri="http://schemas.microsoft.com/sharepoint/v3/contenttype/forms"/>
  </ds:schemaRefs>
</ds:datastoreItem>
</file>

<file path=customXml/itemProps730.xml><?xml version="1.0" encoding="utf-8"?>
<ds:datastoreItem xmlns:ds="http://schemas.openxmlformats.org/officeDocument/2006/customXml" ds:itemID="{3D4CC5F9-2243-404B-9A3A-1F8AA2789AB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31.xml><?xml version="1.0" encoding="utf-8"?>
<ds:datastoreItem xmlns:ds="http://schemas.openxmlformats.org/officeDocument/2006/customXml" ds:itemID="{CA3C33DF-C4C4-4462-AE26-A37068D7A0B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32.xml><?xml version="1.0" encoding="utf-8"?>
<ds:datastoreItem xmlns:ds="http://schemas.openxmlformats.org/officeDocument/2006/customXml" ds:itemID="{F2ADDFFF-892B-4F34-BC25-541B74FA172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33.xml><?xml version="1.0" encoding="utf-8"?>
<ds:datastoreItem xmlns:ds="http://schemas.openxmlformats.org/officeDocument/2006/customXml" ds:itemID="{86016306-FD75-48CF-BDAA-DD803E0FECEA}">
  <ds:schemaRefs>
    <ds:schemaRef ds:uri="http://schemas.microsoft.com/sharepoint/v3/contenttype/forms"/>
  </ds:schemaRefs>
</ds:datastoreItem>
</file>

<file path=customXml/itemProps734.xml><?xml version="1.0" encoding="utf-8"?>
<ds:datastoreItem xmlns:ds="http://schemas.openxmlformats.org/officeDocument/2006/customXml" ds:itemID="{F03D8158-1C68-4D9A-9CB4-C0D5D3526F1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35.xml><?xml version="1.0" encoding="utf-8"?>
<ds:datastoreItem xmlns:ds="http://schemas.openxmlformats.org/officeDocument/2006/customXml" ds:itemID="{7E266089-DCC2-4B7B-9E1F-1864F44165F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36.xml><?xml version="1.0" encoding="utf-8"?>
<ds:datastoreItem xmlns:ds="http://schemas.openxmlformats.org/officeDocument/2006/customXml" ds:itemID="{8BD48920-4299-4AA7-950A-2CA6918E1968}">
  <ds:schemaRefs>
    <ds:schemaRef ds:uri="http://schemas.microsoft.com/sharepoint/v3/contenttype/forms"/>
  </ds:schemaRefs>
</ds:datastoreItem>
</file>

<file path=customXml/itemProps737.xml><?xml version="1.0" encoding="utf-8"?>
<ds:datastoreItem xmlns:ds="http://schemas.openxmlformats.org/officeDocument/2006/customXml" ds:itemID="{F56F8230-BD58-4359-AF99-0807DA22978B}">
  <ds:schemaRefs>
    <ds:schemaRef ds:uri="http://schemas.microsoft.com/sharepoint/v3/contenttype/forms"/>
  </ds:schemaRefs>
</ds:datastoreItem>
</file>

<file path=customXml/itemProps738.xml><?xml version="1.0" encoding="utf-8"?>
<ds:datastoreItem xmlns:ds="http://schemas.openxmlformats.org/officeDocument/2006/customXml" ds:itemID="{6137C8B0-D525-46CA-810B-03C9E8B3684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39.xml><?xml version="1.0" encoding="utf-8"?>
<ds:datastoreItem xmlns:ds="http://schemas.openxmlformats.org/officeDocument/2006/customXml" ds:itemID="{9F449304-E6F1-4556-8365-93F3D4D199E9}">
  <ds:schemaRefs>
    <ds:schemaRef ds:uri="http://schemas.microsoft.com/sharepoint/v3/contenttype/forms"/>
  </ds:schemaRefs>
</ds:datastoreItem>
</file>

<file path=customXml/itemProps74.xml><?xml version="1.0" encoding="utf-8"?>
<ds:datastoreItem xmlns:ds="http://schemas.openxmlformats.org/officeDocument/2006/customXml" ds:itemID="{806E44B2-204D-43BA-8419-9578C8C4F89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40.xml><?xml version="1.0" encoding="utf-8"?>
<ds:datastoreItem xmlns:ds="http://schemas.openxmlformats.org/officeDocument/2006/customXml" ds:itemID="{AF16C24A-F1FF-44F5-8B1D-FEAF2C417F7E}">
  <ds:schemaRefs>
    <ds:schemaRef ds:uri="http://schemas.microsoft.com/sharepoint/v3/contenttype/forms"/>
  </ds:schemaRefs>
</ds:datastoreItem>
</file>

<file path=customXml/itemProps741.xml><?xml version="1.0" encoding="utf-8"?>
<ds:datastoreItem xmlns:ds="http://schemas.openxmlformats.org/officeDocument/2006/customXml" ds:itemID="{6ACC2BAF-E415-44E4-9CC5-8C54704507A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42.xml><?xml version="1.0" encoding="utf-8"?>
<ds:datastoreItem xmlns:ds="http://schemas.openxmlformats.org/officeDocument/2006/customXml" ds:itemID="{47B2A60D-F337-4E76-856B-0F23073C1E01}">
  <ds:schemaRefs>
    <ds:schemaRef ds:uri="http://schemas.microsoft.com/sharepoint/v3/contenttype/forms"/>
  </ds:schemaRefs>
</ds:datastoreItem>
</file>

<file path=customXml/itemProps743.xml><?xml version="1.0" encoding="utf-8"?>
<ds:datastoreItem xmlns:ds="http://schemas.openxmlformats.org/officeDocument/2006/customXml" ds:itemID="{50B79C95-0AD8-40CB-AA45-4637C89A2AD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44.xml><?xml version="1.0" encoding="utf-8"?>
<ds:datastoreItem xmlns:ds="http://schemas.openxmlformats.org/officeDocument/2006/customXml" ds:itemID="{94A816C5-A296-47AB-89E6-2EFE5E2C1A7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45.xml><?xml version="1.0" encoding="utf-8"?>
<ds:datastoreItem xmlns:ds="http://schemas.openxmlformats.org/officeDocument/2006/customXml" ds:itemID="{45125985-0C2F-4584-81FA-FFE676186F7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46.xml><?xml version="1.0" encoding="utf-8"?>
<ds:datastoreItem xmlns:ds="http://schemas.openxmlformats.org/officeDocument/2006/customXml" ds:itemID="{6E19623E-1682-4372-A6A9-6B15B742F62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47.xml><?xml version="1.0" encoding="utf-8"?>
<ds:datastoreItem xmlns:ds="http://schemas.openxmlformats.org/officeDocument/2006/customXml" ds:itemID="{F17754D7-1BBC-4156-B16A-02E8154BEA2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48.xml><?xml version="1.0" encoding="utf-8"?>
<ds:datastoreItem xmlns:ds="http://schemas.openxmlformats.org/officeDocument/2006/customXml" ds:itemID="{0CF2E0A7-C270-474C-81E0-6008118BC41C}">
  <ds:schemaRefs>
    <ds:schemaRef ds:uri="http://schemas.microsoft.com/sharepoint/v3/contenttype/forms"/>
  </ds:schemaRefs>
</ds:datastoreItem>
</file>

<file path=customXml/itemProps749.xml><?xml version="1.0" encoding="utf-8"?>
<ds:datastoreItem xmlns:ds="http://schemas.openxmlformats.org/officeDocument/2006/customXml" ds:itemID="{04988868-2333-488B-A1ED-03584D1FBE5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5.xml><?xml version="1.0" encoding="utf-8"?>
<ds:datastoreItem xmlns:ds="http://schemas.openxmlformats.org/officeDocument/2006/customXml" ds:itemID="{B2B86242-2BCE-4AD4-9232-DBA4B30B2FE1}">
  <ds:schemaRefs>
    <ds:schemaRef ds:uri="http://schemas.microsoft.com/sharepoint/v3/contenttype/forms"/>
  </ds:schemaRefs>
</ds:datastoreItem>
</file>

<file path=customXml/itemProps750.xml><?xml version="1.0" encoding="utf-8"?>
<ds:datastoreItem xmlns:ds="http://schemas.openxmlformats.org/officeDocument/2006/customXml" ds:itemID="{11ABFAFB-032F-4CEA-8B70-7788D1E3224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51.xml><?xml version="1.0" encoding="utf-8"?>
<ds:datastoreItem xmlns:ds="http://schemas.openxmlformats.org/officeDocument/2006/customXml" ds:itemID="{6FC85434-3AAD-460D-88CE-B65B084BC4D9}">
  <ds:schemaRefs>
    <ds:schemaRef ds:uri="http://schemas.microsoft.com/sharepoint/v3/contenttype/forms"/>
  </ds:schemaRefs>
</ds:datastoreItem>
</file>

<file path=customXml/itemProps752.xml><?xml version="1.0" encoding="utf-8"?>
<ds:datastoreItem xmlns:ds="http://schemas.openxmlformats.org/officeDocument/2006/customXml" ds:itemID="{A7B2C276-64B9-4AE0-8065-672C6C87AE8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53.xml><?xml version="1.0" encoding="utf-8"?>
<ds:datastoreItem xmlns:ds="http://schemas.openxmlformats.org/officeDocument/2006/customXml" ds:itemID="{3CAB985C-D564-4F9E-8375-E7D985017ED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54.xml><?xml version="1.0" encoding="utf-8"?>
<ds:datastoreItem xmlns:ds="http://schemas.openxmlformats.org/officeDocument/2006/customXml" ds:itemID="{BA4EFB5E-9D90-43AF-96CB-9FDF77D040C2}">
  <ds:schemaRefs>
    <ds:schemaRef ds:uri="http://schemas.microsoft.com/sharepoint/v3/contenttype/forms"/>
  </ds:schemaRefs>
</ds:datastoreItem>
</file>

<file path=customXml/itemProps755.xml><?xml version="1.0" encoding="utf-8"?>
<ds:datastoreItem xmlns:ds="http://schemas.openxmlformats.org/officeDocument/2006/customXml" ds:itemID="{2252220F-2BBA-4A6F-A7A1-8FE3FDEB878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56.xml><?xml version="1.0" encoding="utf-8"?>
<ds:datastoreItem xmlns:ds="http://schemas.openxmlformats.org/officeDocument/2006/customXml" ds:itemID="{C2DA043F-D7DA-45FE-96C8-58A6572CCF1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57.xml><?xml version="1.0" encoding="utf-8"?>
<ds:datastoreItem xmlns:ds="http://schemas.openxmlformats.org/officeDocument/2006/customXml" ds:itemID="{5F72879B-CACF-4AFF-8B15-B2DE6896839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58.xml><?xml version="1.0" encoding="utf-8"?>
<ds:datastoreItem xmlns:ds="http://schemas.openxmlformats.org/officeDocument/2006/customXml" ds:itemID="{D1A01D70-71BC-4777-95F5-788FABC7B37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59.xml><?xml version="1.0" encoding="utf-8"?>
<ds:datastoreItem xmlns:ds="http://schemas.openxmlformats.org/officeDocument/2006/customXml" ds:itemID="{ACFF7937-FC87-4B3E-A61B-08031F0F2BE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6.xml><?xml version="1.0" encoding="utf-8"?>
<ds:datastoreItem xmlns:ds="http://schemas.openxmlformats.org/officeDocument/2006/customXml" ds:itemID="{F7C31D48-8BA6-4B7C-92CC-12D9B0C1BF2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60.xml><?xml version="1.0" encoding="utf-8"?>
<ds:datastoreItem xmlns:ds="http://schemas.openxmlformats.org/officeDocument/2006/customXml" ds:itemID="{1FB762A1-0DA0-4915-899C-4F456148F60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61.xml><?xml version="1.0" encoding="utf-8"?>
<ds:datastoreItem xmlns:ds="http://schemas.openxmlformats.org/officeDocument/2006/customXml" ds:itemID="{4AF537E5-A2E3-4669-96C2-DC2A4CEF48F6}">
  <ds:schemaRefs>
    <ds:schemaRef ds:uri="http://schemas.microsoft.com/sharepoint/v3/contenttype/forms"/>
  </ds:schemaRefs>
</ds:datastoreItem>
</file>

<file path=customXml/itemProps762.xml><?xml version="1.0" encoding="utf-8"?>
<ds:datastoreItem xmlns:ds="http://schemas.openxmlformats.org/officeDocument/2006/customXml" ds:itemID="{988E1B06-1406-40EB-A5D8-431034A0190A}">
  <ds:schemaRefs>
    <ds:schemaRef ds:uri="http://schemas.microsoft.com/sharepoint/v3/contenttype/forms"/>
  </ds:schemaRefs>
</ds:datastoreItem>
</file>

<file path=customXml/itemProps763.xml><?xml version="1.0" encoding="utf-8"?>
<ds:datastoreItem xmlns:ds="http://schemas.openxmlformats.org/officeDocument/2006/customXml" ds:itemID="{1B969B13-F024-488B-9B7F-2582A6A7097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64.xml><?xml version="1.0" encoding="utf-8"?>
<ds:datastoreItem xmlns:ds="http://schemas.openxmlformats.org/officeDocument/2006/customXml" ds:itemID="{93E5DE6E-CB72-4A8B-A9DD-237F5D467CA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65.xml><?xml version="1.0" encoding="utf-8"?>
<ds:datastoreItem xmlns:ds="http://schemas.openxmlformats.org/officeDocument/2006/customXml" ds:itemID="{BF826BA7-E8A4-45E7-AEAA-0A85FB3AC29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66.xml><?xml version="1.0" encoding="utf-8"?>
<ds:datastoreItem xmlns:ds="http://schemas.openxmlformats.org/officeDocument/2006/customXml" ds:itemID="{E88698FD-F18C-4703-A39D-707CC6F0B79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67.xml><?xml version="1.0" encoding="utf-8"?>
<ds:datastoreItem xmlns:ds="http://schemas.openxmlformats.org/officeDocument/2006/customXml" ds:itemID="{8092D838-25AE-4185-B7F8-3A3B9491F99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68.xml><?xml version="1.0" encoding="utf-8"?>
<ds:datastoreItem xmlns:ds="http://schemas.openxmlformats.org/officeDocument/2006/customXml" ds:itemID="{19C2C624-4EC9-4674-8054-2452AD84663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69.xml><?xml version="1.0" encoding="utf-8"?>
<ds:datastoreItem xmlns:ds="http://schemas.openxmlformats.org/officeDocument/2006/customXml" ds:itemID="{1445BA68-2E52-49FB-8F9E-FDB27EF3DEF0}">
  <ds:schemaRefs>
    <ds:schemaRef ds:uri="http://schemas.microsoft.com/sharepoint/v3/contenttype/forms"/>
  </ds:schemaRefs>
</ds:datastoreItem>
</file>

<file path=customXml/itemProps77.xml><?xml version="1.0" encoding="utf-8"?>
<ds:datastoreItem xmlns:ds="http://schemas.openxmlformats.org/officeDocument/2006/customXml" ds:itemID="{CC8881D7-E5BE-4957-BBA2-BBE6D738BB5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70.xml><?xml version="1.0" encoding="utf-8"?>
<ds:datastoreItem xmlns:ds="http://schemas.openxmlformats.org/officeDocument/2006/customXml" ds:itemID="{26115BC4-4203-485B-B348-49D22FDF9505}">
  <ds:schemaRefs>
    <ds:schemaRef ds:uri="http://schemas.microsoft.com/sharepoint/v3/contenttype/forms"/>
  </ds:schemaRefs>
</ds:datastoreItem>
</file>

<file path=customXml/itemProps771.xml><?xml version="1.0" encoding="utf-8"?>
<ds:datastoreItem xmlns:ds="http://schemas.openxmlformats.org/officeDocument/2006/customXml" ds:itemID="{298F59E3-623D-46D8-90EF-58818998FA9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72.xml><?xml version="1.0" encoding="utf-8"?>
<ds:datastoreItem xmlns:ds="http://schemas.openxmlformats.org/officeDocument/2006/customXml" ds:itemID="{2B0317D9-E310-415A-BA28-C5A27CA4EAD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73.xml><?xml version="1.0" encoding="utf-8"?>
<ds:datastoreItem xmlns:ds="http://schemas.openxmlformats.org/officeDocument/2006/customXml" ds:itemID="{B8EF7166-CBB4-4A6C-A7CA-7718962AF52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74.xml><?xml version="1.0" encoding="utf-8"?>
<ds:datastoreItem xmlns:ds="http://schemas.openxmlformats.org/officeDocument/2006/customXml" ds:itemID="{356DDECA-99F3-4B54-9BDB-350D53CFE6F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75.xml><?xml version="1.0" encoding="utf-8"?>
<ds:datastoreItem xmlns:ds="http://schemas.openxmlformats.org/officeDocument/2006/customXml" ds:itemID="{905890B8-513A-4637-BCF6-5B955303B14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76.xml><?xml version="1.0" encoding="utf-8"?>
<ds:datastoreItem xmlns:ds="http://schemas.openxmlformats.org/officeDocument/2006/customXml" ds:itemID="{FF051924-72EE-4959-9972-A0A4856AFD4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77.xml><?xml version="1.0" encoding="utf-8"?>
<ds:datastoreItem xmlns:ds="http://schemas.openxmlformats.org/officeDocument/2006/customXml" ds:itemID="{CA6A6083-9DB6-45E4-9531-64881F6BCDD7}">
  <ds:schemaRefs>
    <ds:schemaRef ds:uri="http://schemas.microsoft.com/sharepoint/v3/contenttype/forms"/>
  </ds:schemaRefs>
</ds:datastoreItem>
</file>

<file path=customXml/itemProps778.xml><?xml version="1.0" encoding="utf-8"?>
<ds:datastoreItem xmlns:ds="http://schemas.openxmlformats.org/officeDocument/2006/customXml" ds:itemID="{84391033-B941-4EB8-A078-E68E17F4EFF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79.xml><?xml version="1.0" encoding="utf-8"?>
<ds:datastoreItem xmlns:ds="http://schemas.openxmlformats.org/officeDocument/2006/customXml" ds:itemID="{DB2D43E1-AD66-4F80-88BB-319610DBB37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8.xml><?xml version="1.0" encoding="utf-8"?>
<ds:datastoreItem xmlns:ds="http://schemas.openxmlformats.org/officeDocument/2006/customXml" ds:itemID="{E0A79C70-DA57-4A03-9FE3-13ABEA16E41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80.xml><?xml version="1.0" encoding="utf-8"?>
<ds:datastoreItem xmlns:ds="http://schemas.openxmlformats.org/officeDocument/2006/customXml" ds:itemID="{139B4265-6F79-46AE-906F-D06E753DA19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81.xml><?xml version="1.0" encoding="utf-8"?>
<ds:datastoreItem xmlns:ds="http://schemas.openxmlformats.org/officeDocument/2006/customXml" ds:itemID="{7EAB30B2-EB2B-4C91-BCB4-4FA8737F76C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82.xml><?xml version="1.0" encoding="utf-8"?>
<ds:datastoreItem xmlns:ds="http://schemas.openxmlformats.org/officeDocument/2006/customXml" ds:itemID="{24414CAE-588B-42C1-84BE-5AB4C696C6D6}">
  <ds:schemaRefs>
    <ds:schemaRef ds:uri="http://schemas.microsoft.com/sharepoint/v3/contenttype/forms"/>
  </ds:schemaRefs>
</ds:datastoreItem>
</file>

<file path=customXml/itemProps783.xml><?xml version="1.0" encoding="utf-8"?>
<ds:datastoreItem xmlns:ds="http://schemas.openxmlformats.org/officeDocument/2006/customXml" ds:itemID="{BAF6D93B-0014-48A3-BC97-EC614349905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84.xml><?xml version="1.0" encoding="utf-8"?>
<ds:datastoreItem xmlns:ds="http://schemas.openxmlformats.org/officeDocument/2006/customXml" ds:itemID="{D7746D11-FEC0-4B05-8FB2-A43F15D326B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85.xml><?xml version="1.0" encoding="utf-8"?>
<ds:datastoreItem xmlns:ds="http://schemas.openxmlformats.org/officeDocument/2006/customXml" ds:itemID="{5B7C67B0-E629-4E56-A4E1-B44983C644F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86.xml><?xml version="1.0" encoding="utf-8"?>
<ds:datastoreItem xmlns:ds="http://schemas.openxmlformats.org/officeDocument/2006/customXml" ds:itemID="{6498F253-17B7-43AA-810C-CC58D231D36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87.xml><?xml version="1.0" encoding="utf-8"?>
<ds:datastoreItem xmlns:ds="http://schemas.openxmlformats.org/officeDocument/2006/customXml" ds:itemID="{5B23E167-7E63-49CB-B2C2-D59E9DBA80A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88.xml><?xml version="1.0" encoding="utf-8"?>
<ds:datastoreItem xmlns:ds="http://schemas.openxmlformats.org/officeDocument/2006/customXml" ds:itemID="{3662BD5B-4768-4226-ADD7-C0942E4BF5C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89.xml><?xml version="1.0" encoding="utf-8"?>
<ds:datastoreItem xmlns:ds="http://schemas.openxmlformats.org/officeDocument/2006/customXml" ds:itemID="{59C71ED0-CCD9-44A8-81F6-45DB6D9F644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9.xml><?xml version="1.0" encoding="utf-8"?>
<ds:datastoreItem xmlns:ds="http://schemas.openxmlformats.org/officeDocument/2006/customXml" ds:itemID="{754AEE02-A79D-4983-9536-29F0322F91E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90.xml><?xml version="1.0" encoding="utf-8"?>
<ds:datastoreItem xmlns:ds="http://schemas.openxmlformats.org/officeDocument/2006/customXml" ds:itemID="{7C12FC46-5288-4217-8AE0-45EDFEA1E33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91.xml><?xml version="1.0" encoding="utf-8"?>
<ds:datastoreItem xmlns:ds="http://schemas.openxmlformats.org/officeDocument/2006/customXml" ds:itemID="{3D50DEC5-C6DD-466B-BA19-B269874AEA0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92.xml><?xml version="1.0" encoding="utf-8"?>
<ds:datastoreItem xmlns:ds="http://schemas.openxmlformats.org/officeDocument/2006/customXml" ds:itemID="{29DEE209-66BE-40CC-AED5-91C0F2AC164E}">
  <ds:schemaRefs>
    <ds:schemaRef ds:uri="http://schemas.microsoft.com/sharepoint/v3/contenttype/forms"/>
  </ds:schemaRefs>
</ds:datastoreItem>
</file>

<file path=customXml/itemProps793.xml><?xml version="1.0" encoding="utf-8"?>
<ds:datastoreItem xmlns:ds="http://schemas.openxmlformats.org/officeDocument/2006/customXml" ds:itemID="{A0D8047C-13AC-422A-B014-66CADEF6E52B}">
  <ds:schemaRefs>
    <ds:schemaRef ds:uri="http://schemas.microsoft.com/sharepoint/v3/contenttype/forms"/>
  </ds:schemaRefs>
</ds:datastoreItem>
</file>

<file path=customXml/itemProps794.xml><?xml version="1.0" encoding="utf-8"?>
<ds:datastoreItem xmlns:ds="http://schemas.openxmlformats.org/officeDocument/2006/customXml" ds:itemID="{D45E363A-B013-4DFB-81C6-9B2E65744D45}">
  <ds:schemaRefs>
    <ds:schemaRef ds:uri="http://purl.org/dc/dcmitype/"/>
    <ds:schemaRef ds:uri="http://purl.org/dc/terms/"/>
    <ds:schemaRef ds:uri="http://schemas.microsoft.com/office/2006/documentManagement/types"/>
    <ds:schemaRef ds:uri="a5df8268-3b34-4463-a895-3ec8cfc42bd5"/>
    <ds:schemaRef ds:uri="a65d7cdc-7643-4b47-b7ee-f2c9d8fd8459"/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schemas.openxmlformats.org/package/2006/metadata/core-properties"/>
  </ds:schemaRefs>
</ds:datastoreItem>
</file>

<file path=customXml/itemProps795.xml><?xml version="1.0" encoding="utf-8"?>
<ds:datastoreItem xmlns:ds="http://schemas.openxmlformats.org/officeDocument/2006/customXml" ds:itemID="{0761AEFC-2DBD-4762-9110-548C1DC24103}">
  <ds:schemaRefs>
    <ds:schemaRef ds:uri="http://schemas.microsoft.com/sharepoint/v3/contenttype/forms"/>
  </ds:schemaRefs>
</ds:datastoreItem>
</file>

<file path=customXml/itemProps796.xml><?xml version="1.0" encoding="utf-8"?>
<ds:datastoreItem xmlns:ds="http://schemas.openxmlformats.org/officeDocument/2006/customXml" ds:itemID="{C5B7DE5A-AE05-4AB1-9497-89412A9450CD}">
  <ds:schemaRefs>
    <ds:schemaRef ds:uri="http://schemas.microsoft.com/sharepoint/v3/contenttype/forms"/>
  </ds:schemaRefs>
</ds:datastoreItem>
</file>

<file path=customXml/itemProps797.xml><?xml version="1.0" encoding="utf-8"?>
<ds:datastoreItem xmlns:ds="http://schemas.openxmlformats.org/officeDocument/2006/customXml" ds:itemID="{9A567269-C2B3-4702-9959-BEB181EB29E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98.xml><?xml version="1.0" encoding="utf-8"?>
<ds:datastoreItem xmlns:ds="http://schemas.openxmlformats.org/officeDocument/2006/customXml" ds:itemID="{3C71A902-0B64-4D10-B940-819A3E760FC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99.xml><?xml version="1.0" encoding="utf-8"?>
<ds:datastoreItem xmlns:ds="http://schemas.openxmlformats.org/officeDocument/2006/customXml" ds:itemID="{B8A22288-0B8D-48F4-AD16-E61FC9A2787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.xml><?xml version="1.0" encoding="utf-8"?>
<ds:datastoreItem xmlns:ds="http://schemas.openxmlformats.org/officeDocument/2006/customXml" ds:itemID="{69043F31-7F35-4DB4-928D-0E4C81993CFA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0.xml><?xml version="1.0" encoding="utf-8"?>
<ds:datastoreItem xmlns:ds="http://schemas.openxmlformats.org/officeDocument/2006/customXml" ds:itemID="{68528A8F-2F29-4499-AA72-44DE217FBF79}">
  <ds:schemaRefs>
    <ds:schemaRef ds:uri="http://schemas.microsoft.com/sharepoint/v3/contenttype/forms"/>
  </ds:schemaRefs>
</ds:datastoreItem>
</file>

<file path=customXml/itemProps800.xml><?xml version="1.0" encoding="utf-8"?>
<ds:datastoreItem xmlns:ds="http://schemas.openxmlformats.org/officeDocument/2006/customXml" ds:itemID="{629BA729-55AF-48FA-9C49-C3AA7BA7D10D}">
  <ds:schemaRefs>
    <ds:schemaRef ds:uri="http://schemas.microsoft.com/sharepoint/v3/contenttype/forms"/>
  </ds:schemaRefs>
</ds:datastoreItem>
</file>

<file path=customXml/itemProps801.xml><?xml version="1.0" encoding="utf-8"?>
<ds:datastoreItem xmlns:ds="http://schemas.openxmlformats.org/officeDocument/2006/customXml" ds:itemID="{F377D409-EFEF-4F2D-857D-ABF29F270B3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02.xml><?xml version="1.0" encoding="utf-8"?>
<ds:datastoreItem xmlns:ds="http://schemas.openxmlformats.org/officeDocument/2006/customXml" ds:itemID="{BA9CE14C-EFB9-4304-A800-46D15DE777F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03.xml><?xml version="1.0" encoding="utf-8"?>
<ds:datastoreItem xmlns:ds="http://schemas.openxmlformats.org/officeDocument/2006/customXml" ds:itemID="{2FAD10AF-1064-4B13-8B56-05CCBA77549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04.xml><?xml version="1.0" encoding="utf-8"?>
<ds:datastoreItem xmlns:ds="http://schemas.openxmlformats.org/officeDocument/2006/customXml" ds:itemID="{D614B0E9-FC17-41DC-96C5-4AE3636A0091}">
  <ds:schemaRefs>
    <ds:schemaRef ds:uri="http://schemas.microsoft.com/sharepoint/v3/contenttype/forms"/>
  </ds:schemaRefs>
</ds:datastoreItem>
</file>

<file path=customXml/itemProps805.xml><?xml version="1.0" encoding="utf-8"?>
<ds:datastoreItem xmlns:ds="http://schemas.openxmlformats.org/officeDocument/2006/customXml" ds:itemID="{64449B4A-0291-4FD3-8F04-3A304A899AA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06.xml><?xml version="1.0" encoding="utf-8"?>
<ds:datastoreItem xmlns:ds="http://schemas.openxmlformats.org/officeDocument/2006/customXml" ds:itemID="{74C1F752-F0FA-4258-8C55-2AE05EF51B4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07.xml><?xml version="1.0" encoding="utf-8"?>
<ds:datastoreItem xmlns:ds="http://schemas.openxmlformats.org/officeDocument/2006/customXml" ds:itemID="{1EE737BB-9D5C-465C-AF6B-A45863F863B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08.xml><?xml version="1.0" encoding="utf-8"?>
<ds:datastoreItem xmlns:ds="http://schemas.openxmlformats.org/officeDocument/2006/customXml" ds:itemID="{D4A60F4F-67E6-44F8-8F1D-05F8D20319C3}">
  <ds:schemaRefs>
    <ds:schemaRef ds:uri="http://schemas.microsoft.com/sharepoint/v3/contenttype/forms"/>
  </ds:schemaRefs>
</ds:datastoreItem>
</file>

<file path=customXml/itemProps809.xml><?xml version="1.0" encoding="utf-8"?>
<ds:datastoreItem xmlns:ds="http://schemas.openxmlformats.org/officeDocument/2006/customXml" ds:itemID="{41B5922E-BE10-420D-BA1D-D86EACA5927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1.xml><?xml version="1.0" encoding="utf-8"?>
<ds:datastoreItem xmlns:ds="http://schemas.openxmlformats.org/officeDocument/2006/customXml" ds:itemID="{9B788943-FF97-4AAC-B2B4-53A2823EC1D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10.xml><?xml version="1.0" encoding="utf-8"?>
<ds:datastoreItem xmlns:ds="http://schemas.openxmlformats.org/officeDocument/2006/customXml" ds:itemID="{186A3504-4804-4355-9EEF-0DAFCC6E608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11.xml><?xml version="1.0" encoding="utf-8"?>
<ds:datastoreItem xmlns:ds="http://schemas.openxmlformats.org/officeDocument/2006/customXml" ds:itemID="{592975B5-BE3A-45B5-B959-2B264632A71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12.xml><?xml version="1.0" encoding="utf-8"?>
<ds:datastoreItem xmlns:ds="http://schemas.openxmlformats.org/officeDocument/2006/customXml" ds:itemID="{F399DAD5-BC68-4F9C-8220-25ADBC8D5A6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13.xml><?xml version="1.0" encoding="utf-8"?>
<ds:datastoreItem xmlns:ds="http://schemas.openxmlformats.org/officeDocument/2006/customXml" ds:itemID="{8CDF8357-AD4D-45D2-9D2C-043BDA7F2DB3}">
  <ds:schemaRefs>
    <ds:schemaRef ds:uri="d4f0ad59-9db4-4f2d-8eeb-402f9842b207"/>
    <ds:schemaRef ds:uri="f3daa2cf-7d41-4bd5-a419-a50b4f890ec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14.xml><?xml version="1.0" encoding="utf-8"?>
<ds:datastoreItem xmlns:ds="http://schemas.openxmlformats.org/officeDocument/2006/customXml" ds:itemID="{C38F0135-DAC1-4134-8A79-5E3A614C1226}">
  <ds:schemaRefs>
    <ds:schemaRef ds:uri="http://schemas.microsoft.com/sharepoint/v3/contenttype/forms"/>
  </ds:schemaRefs>
</ds:datastoreItem>
</file>

<file path=customXml/itemProps815.xml><?xml version="1.0" encoding="utf-8"?>
<ds:datastoreItem xmlns:ds="http://schemas.openxmlformats.org/officeDocument/2006/customXml" ds:itemID="{2F3F3EF7-E171-4013-B8FE-B3B02FE5404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16.xml><?xml version="1.0" encoding="utf-8"?>
<ds:datastoreItem xmlns:ds="http://schemas.openxmlformats.org/officeDocument/2006/customXml" ds:itemID="{0162D657-73CC-4525-870E-71E34E40C96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17.xml><?xml version="1.0" encoding="utf-8"?>
<ds:datastoreItem xmlns:ds="http://schemas.openxmlformats.org/officeDocument/2006/customXml" ds:itemID="{A5FC7F0B-3C96-4DEF-A95E-C6CB25CEF39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18.xml><?xml version="1.0" encoding="utf-8"?>
<ds:datastoreItem xmlns:ds="http://schemas.openxmlformats.org/officeDocument/2006/customXml" ds:itemID="{7CF2263F-337D-4EE5-9C9B-BF542D72B1AE}">
  <ds:schemaRefs>
    <ds:schemaRef ds:uri="http://schemas.microsoft.com/sharepoint/v3/contenttype/forms"/>
  </ds:schemaRefs>
</ds:datastoreItem>
</file>

<file path=customXml/itemProps819.xml><?xml version="1.0" encoding="utf-8"?>
<ds:datastoreItem xmlns:ds="http://schemas.openxmlformats.org/officeDocument/2006/customXml" ds:itemID="{EACB1A1E-0DB5-4295-AA43-86F8FEEA4F2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2.xml><?xml version="1.0" encoding="utf-8"?>
<ds:datastoreItem xmlns:ds="http://schemas.openxmlformats.org/officeDocument/2006/customXml" ds:itemID="{7D79A90A-9081-41E5-B49C-3E0EEB4EDB78}">
  <ds:schemaRefs>
    <ds:schemaRef ds:uri="http://schemas.microsoft.com/sharepoint/v3/contenttype/forms"/>
  </ds:schemaRefs>
</ds:datastoreItem>
</file>

<file path=customXml/itemProps820.xml><?xml version="1.0" encoding="utf-8"?>
<ds:datastoreItem xmlns:ds="http://schemas.openxmlformats.org/officeDocument/2006/customXml" ds:itemID="{1A4BAAD4-FA36-453C-AE4B-AB7E8CFE00A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21.xml><?xml version="1.0" encoding="utf-8"?>
<ds:datastoreItem xmlns:ds="http://schemas.openxmlformats.org/officeDocument/2006/customXml" ds:itemID="{D54B6554-DA22-49CF-8908-34ECE0B5D673}">
  <ds:schemaRefs>
    <ds:schemaRef ds:uri="http://schemas.microsoft.com/sharepoint/v3/contenttype/forms"/>
  </ds:schemaRefs>
</ds:datastoreItem>
</file>

<file path=customXml/itemProps822.xml><?xml version="1.0" encoding="utf-8"?>
<ds:datastoreItem xmlns:ds="http://schemas.openxmlformats.org/officeDocument/2006/customXml" ds:itemID="{FA276F73-E18F-43C2-80EF-7EBCFE89FEB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23.xml><?xml version="1.0" encoding="utf-8"?>
<ds:datastoreItem xmlns:ds="http://schemas.openxmlformats.org/officeDocument/2006/customXml" ds:itemID="{13F4052E-5A80-4DBE-BDEA-2211D0CA027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24.xml><?xml version="1.0" encoding="utf-8"?>
<ds:datastoreItem xmlns:ds="http://schemas.openxmlformats.org/officeDocument/2006/customXml" ds:itemID="{7E0557E0-D389-4B68-941C-A8B0EF88797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25.xml><?xml version="1.0" encoding="utf-8"?>
<ds:datastoreItem xmlns:ds="http://schemas.openxmlformats.org/officeDocument/2006/customXml" ds:itemID="{D885F37A-BE0D-44E2-B333-9F2295FB156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26.xml><?xml version="1.0" encoding="utf-8"?>
<ds:datastoreItem xmlns:ds="http://schemas.openxmlformats.org/officeDocument/2006/customXml" ds:itemID="{6C15E481-257C-4DAE-BFEF-BDA1FA92640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27.xml><?xml version="1.0" encoding="utf-8"?>
<ds:datastoreItem xmlns:ds="http://schemas.openxmlformats.org/officeDocument/2006/customXml" ds:itemID="{4CE876E1-5F58-4168-BD79-8B608A3866B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28.xml><?xml version="1.0" encoding="utf-8"?>
<ds:datastoreItem xmlns:ds="http://schemas.openxmlformats.org/officeDocument/2006/customXml" ds:itemID="{499CF532-E8CA-4F61-A85E-68E4836841B0}">
  <ds:schemaRefs>
    <ds:schemaRef ds:uri="http://schemas.microsoft.com/sharepoint/v3/contenttype/forms"/>
  </ds:schemaRefs>
</ds:datastoreItem>
</file>

<file path=customXml/itemProps829.xml><?xml version="1.0" encoding="utf-8"?>
<ds:datastoreItem xmlns:ds="http://schemas.openxmlformats.org/officeDocument/2006/customXml" ds:itemID="{65F2E16A-3098-42CF-A5E9-978A8F32E49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3.xml><?xml version="1.0" encoding="utf-8"?>
<ds:datastoreItem xmlns:ds="http://schemas.openxmlformats.org/officeDocument/2006/customXml" ds:itemID="{10389596-AF13-4891-9C88-2B9D07E35DC2}">
  <ds:schemaRefs>
    <ds:schemaRef ds:uri="http://schemas.microsoft.com/sharepoint/v3/contenttype/forms"/>
  </ds:schemaRefs>
</ds:datastoreItem>
</file>

<file path=customXml/itemProps830.xml><?xml version="1.0" encoding="utf-8"?>
<ds:datastoreItem xmlns:ds="http://schemas.openxmlformats.org/officeDocument/2006/customXml" ds:itemID="{9A7D3206-7FBB-41C8-AD56-36BCF8A71AF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31.xml><?xml version="1.0" encoding="utf-8"?>
<ds:datastoreItem xmlns:ds="http://schemas.openxmlformats.org/officeDocument/2006/customXml" ds:itemID="{D95DFCD4-98FB-418F-8AF4-687515B3C754}">
  <ds:schemaRefs>
    <ds:schemaRef ds:uri="http://schemas.microsoft.com/sharepoint/v3/contenttype/forms"/>
  </ds:schemaRefs>
</ds:datastoreItem>
</file>

<file path=customXml/itemProps832.xml><?xml version="1.0" encoding="utf-8"?>
<ds:datastoreItem xmlns:ds="http://schemas.openxmlformats.org/officeDocument/2006/customXml" ds:itemID="{4CD71E95-8103-4C38-AC99-FA52CD98AF4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33.xml><?xml version="1.0" encoding="utf-8"?>
<ds:datastoreItem xmlns:ds="http://schemas.openxmlformats.org/officeDocument/2006/customXml" ds:itemID="{8C789C2B-D8AF-417A-B456-BE1D7F22E170}">
  <ds:schemaRefs>
    <ds:schemaRef ds:uri="http://schemas.microsoft.com/sharepoint/v3/contenttype/forms"/>
  </ds:schemaRefs>
</ds:datastoreItem>
</file>

<file path=customXml/itemProps834.xml><?xml version="1.0" encoding="utf-8"?>
<ds:datastoreItem xmlns:ds="http://schemas.openxmlformats.org/officeDocument/2006/customXml" ds:itemID="{B0103E8B-EA75-4269-B4AA-2DA4DC9E0976}">
  <ds:schemaRefs>
    <ds:schemaRef ds:uri="http://schemas.microsoft.com/sharepoint/v3/contenttype/forms"/>
  </ds:schemaRefs>
</ds:datastoreItem>
</file>

<file path=customXml/itemProps835.xml><?xml version="1.0" encoding="utf-8"?>
<ds:datastoreItem xmlns:ds="http://schemas.openxmlformats.org/officeDocument/2006/customXml" ds:itemID="{BE5141C4-56EC-43E5-BE97-73994DEF678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36.xml><?xml version="1.0" encoding="utf-8"?>
<ds:datastoreItem xmlns:ds="http://schemas.openxmlformats.org/officeDocument/2006/customXml" ds:itemID="{40231458-1CD5-48C2-BA64-83279EF901B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37.xml><?xml version="1.0" encoding="utf-8"?>
<ds:datastoreItem xmlns:ds="http://schemas.openxmlformats.org/officeDocument/2006/customXml" ds:itemID="{A7275CDE-0AB1-49AF-AB94-DAA43331858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38.xml><?xml version="1.0" encoding="utf-8"?>
<ds:datastoreItem xmlns:ds="http://schemas.openxmlformats.org/officeDocument/2006/customXml" ds:itemID="{FFDB7623-4A16-45D2-BF84-70A46154B97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39.xml><?xml version="1.0" encoding="utf-8"?>
<ds:datastoreItem xmlns:ds="http://schemas.openxmlformats.org/officeDocument/2006/customXml" ds:itemID="{5A398125-9B63-4020-98EB-233906F73ED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4.xml><?xml version="1.0" encoding="utf-8"?>
<ds:datastoreItem xmlns:ds="http://schemas.openxmlformats.org/officeDocument/2006/customXml" ds:itemID="{DDE418CA-7366-40DB-9879-756F725721F2}">
  <ds:schemaRefs>
    <ds:schemaRef ds:uri="http://schemas.microsoft.com/sharepoint/v3/contenttype/forms"/>
  </ds:schemaRefs>
</ds:datastoreItem>
</file>

<file path=customXml/itemProps840.xml><?xml version="1.0" encoding="utf-8"?>
<ds:datastoreItem xmlns:ds="http://schemas.openxmlformats.org/officeDocument/2006/customXml" ds:itemID="{D807CC56-29CB-4213-B00C-F995A83623B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41.xml><?xml version="1.0" encoding="utf-8"?>
<ds:datastoreItem xmlns:ds="http://schemas.openxmlformats.org/officeDocument/2006/customXml" ds:itemID="{8D6F73BC-3B87-47BE-A03F-0DCF411A3D0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42.xml><?xml version="1.0" encoding="utf-8"?>
<ds:datastoreItem xmlns:ds="http://schemas.openxmlformats.org/officeDocument/2006/customXml" ds:itemID="{3FB2AAB4-F8B2-4592-BF3C-A3190B7A02C9}">
  <ds:schemaRefs>
    <ds:schemaRef ds:uri="http://schemas.microsoft.com/sharepoint/v3/contenttype/forms"/>
  </ds:schemaRefs>
</ds:datastoreItem>
</file>

<file path=customXml/itemProps843.xml><?xml version="1.0" encoding="utf-8"?>
<ds:datastoreItem xmlns:ds="http://schemas.openxmlformats.org/officeDocument/2006/customXml" ds:itemID="{1ECC71CB-EE33-4137-BBFA-7AEA185D8060}">
  <ds:schemaRefs>
    <ds:schemaRef ds:uri="http://schemas.microsoft.com/sharepoint/v3/contenttype/forms"/>
  </ds:schemaRefs>
</ds:datastoreItem>
</file>

<file path=customXml/itemProps844.xml><?xml version="1.0" encoding="utf-8"?>
<ds:datastoreItem xmlns:ds="http://schemas.openxmlformats.org/officeDocument/2006/customXml" ds:itemID="{3788B883-6D3E-457E-BDF2-D41FEF1344D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45.xml><?xml version="1.0" encoding="utf-8"?>
<ds:datastoreItem xmlns:ds="http://schemas.openxmlformats.org/officeDocument/2006/customXml" ds:itemID="{BBD03914-F33F-440D-885E-8A64D3C0CDB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46.xml><?xml version="1.0" encoding="utf-8"?>
<ds:datastoreItem xmlns:ds="http://schemas.openxmlformats.org/officeDocument/2006/customXml" ds:itemID="{A6365A5E-E8C7-4EA9-A01C-C7662F4810DB}">
  <ds:schemaRefs>
    <ds:schemaRef ds:uri="http://schemas.microsoft.com/sharepoint/v3/contenttype/forms"/>
  </ds:schemaRefs>
</ds:datastoreItem>
</file>

<file path=customXml/itemProps847.xml><?xml version="1.0" encoding="utf-8"?>
<ds:datastoreItem xmlns:ds="http://schemas.openxmlformats.org/officeDocument/2006/customXml" ds:itemID="{C2B38AF9-73F3-44D1-8066-86123D233E8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48.xml><?xml version="1.0" encoding="utf-8"?>
<ds:datastoreItem xmlns:ds="http://schemas.openxmlformats.org/officeDocument/2006/customXml" ds:itemID="{C8FD0723-EBE0-4F41-9BC4-52419C66491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49.xml><?xml version="1.0" encoding="utf-8"?>
<ds:datastoreItem xmlns:ds="http://schemas.openxmlformats.org/officeDocument/2006/customXml" ds:itemID="{0F547A67-A931-4CA2-9685-036920A7A94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5.xml><?xml version="1.0" encoding="utf-8"?>
<ds:datastoreItem xmlns:ds="http://schemas.openxmlformats.org/officeDocument/2006/customXml" ds:itemID="{8F292CAE-349A-4F5F-8114-62C52CF63777}">
  <ds:schemaRefs>
    <ds:schemaRef ds:uri="http://schemas.microsoft.com/sharepoint/v3/contenttype/forms"/>
  </ds:schemaRefs>
</ds:datastoreItem>
</file>

<file path=customXml/itemProps850.xml><?xml version="1.0" encoding="utf-8"?>
<ds:datastoreItem xmlns:ds="http://schemas.openxmlformats.org/officeDocument/2006/customXml" ds:itemID="{E10D5FCF-0802-455B-827C-7A20690DCE9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51.xml><?xml version="1.0" encoding="utf-8"?>
<ds:datastoreItem xmlns:ds="http://schemas.openxmlformats.org/officeDocument/2006/customXml" ds:itemID="{7A3BF99B-A8DE-4AD6-B29F-1D7FD2A7C70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52.xml><?xml version="1.0" encoding="utf-8"?>
<ds:datastoreItem xmlns:ds="http://schemas.openxmlformats.org/officeDocument/2006/customXml" ds:itemID="{209EB803-47A5-4D3F-9D76-85A86110E68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53.xml><?xml version="1.0" encoding="utf-8"?>
<ds:datastoreItem xmlns:ds="http://schemas.openxmlformats.org/officeDocument/2006/customXml" ds:itemID="{538AFB86-3CC5-44D1-B9AB-E7F010CD664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54.xml><?xml version="1.0" encoding="utf-8"?>
<ds:datastoreItem xmlns:ds="http://schemas.openxmlformats.org/officeDocument/2006/customXml" ds:itemID="{934E1567-77CB-4111-B36F-63DDA7921CF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55.xml><?xml version="1.0" encoding="utf-8"?>
<ds:datastoreItem xmlns:ds="http://schemas.openxmlformats.org/officeDocument/2006/customXml" ds:itemID="{8F5249BE-1CE5-4C18-9CFB-7A3D6EFFE9CB}">
  <ds:schemaRefs>
    <ds:schemaRef ds:uri="http://schemas.microsoft.com/sharepoint/v3/contenttype/forms"/>
  </ds:schemaRefs>
</ds:datastoreItem>
</file>

<file path=customXml/itemProps856.xml><?xml version="1.0" encoding="utf-8"?>
<ds:datastoreItem xmlns:ds="http://schemas.openxmlformats.org/officeDocument/2006/customXml" ds:itemID="{DAA05463-FF64-4707-BC2D-18B4DEE18B37}">
  <ds:schemaRefs>
    <ds:schemaRef ds:uri="http://schemas.microsoft.com/sharepoint/v3/contenttype/forms"/>
  </ds:schemaRefs>
</ds:datastoreItem>
</file>

<file path=customXml/itemProps857.xml><?xml version="1.0" encoding="utf-8"?>
<ds:datastoreItem xmlns:ds="http://schemas.openxmlformats.org/officeDocument/2006/customXml" ds:itemID="{7218074D-5B81-4B4D-B0DA-C32A6D02A75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58.xml><?xml version="1.0" encoding="utf-8"?>
<ds:datastoreItem xmlns:ds="http://schemas.openxmlformats.org/officeDocument/2006/customXml" ds:itemID="{25BEB0BD-6D5C-4406-AB20-EF920F19247D}">
  <ds:schemaRefs>
    <ds:schemaRef ds:uri="http://schemas.microsoft.com/sharepoint/v3/contenttype/forms"/>
  </ds:schemaRefs>
</ds:datastoreItem>
</file>

<file path=customXml/itemProps859.xml><?xml version="1.0" encoding="utf-8"?>
<ds:datastoreItem xmlns:ds="http://schemas.openxmlformats.org/officeDocument/2006/customXml" ds:itemID="{C92E92A4-A1DF-4467-9FBD-F482001E07E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6.xml><?xml version="1.0" encoding="utf-8"?>
<ds:datastoreItem xmlns:ds="http://schemas.openxmlformats.org/officeDocument/2006/customXml" ds:itemID="{8BE65BE1-3250-4D3C-AFAB-3E04B8DCDB9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60.xml><?xml version="1.0" encoding="utf-8"?>
<ds:datastoreItem xmlns:ds="http://schemas.openxmlformats.org/officeDocument/2006/customXml" ds:itemID="{3D5B8E93-470D-430D-9B7B-4044915A29F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61.xml><?xml version="1.0" encoding="utf-8"?>
<ds:datastoreItem xmlns:ds="http://schemas.openxmlformats.org/officeDocument/2006/customXml" ds:itemID="{4576292C-51E2-4AA6-A334-50EBD713CA6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62.xml><?xml version="1.0" encoding="utf-8"?>
<ds:datastoreItem xmlns:ds="http://schemas.openxmlformats.org/officeDocument/2006/customXml" ds:itemID="{CA9217FD-0835-4602-9F1C-D72A2B92B544}">
  <ds:schemaRefs>
    <ds:schemaRef ds:uri="http://schemas.microsoft.com/sharepoint/v3/contenttype/forms"/>
  </ds:schemaRefs>
</ds:datastoreItem>
</file>

<file path=customXml/itemProps863.xml><?xml version="1.0" encoding="utf-8"?>
<ds:datastoreItem xmlns:ds="http://schemas.openxmlformats.org/officeDocument/2006/customXml" ds:itemID="{0F9D75EB-3FB9-46AA-8169-562A7E29C8F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64.xml><?xml version="1.0" encoding="utf-8"?>
<ds:datastoreItem xmlns:ds="http://schemas.openxmlformats.org/officeDocument/2006/customXml" ds:itemID="{F479F145-8807-4938-98A4-F03C4B845035}">
  <ds:schemaRefs>
    <ds:schemaRef ds:uri="http://schemas.microsoft.com/sharepoint/v3/contenttype/forms"/>
  </ds:schemaRefs>
</ds:datastoreItem>
</file>

<file path=customXml/itemProps865.xml><?xml version="1.0" encoding="utf-8"?>
<ds:datastoreItem xmlns:ds="http://schemas.openxmlformats.org/officeDocument/2006/customXml" ds:itemID="{563769F4-D21C-4B2F-8999-B92ED18B6B4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66.xml><?xml version="1.0" encoding="utf-8"?>
<ds:datastoreItem xmlns:ds="http://schemas.openxmlformats.org/officeDocument/2006/customXml" ds:itemID="{1B45F547-3FCB-4322-A5CC-AB93972A3926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67.xml><?xml version="1.0" encoding="utf-8"?>
<ds:datastoreItem xmlns:ds="http://schemas.openxmlformats.org/officeDocument/2006/customXml" ds:itemID="{1C5CB0FA-B8E3-4F61-A6A3-0DEBC4086DD1}">
  <ds:schemaRefs>
    <ds:schemaRef ds:uri="http://schemas.microsoft.com/sharepoint/v3/contenttype/forms"/>
  </ds:schemaRefs>
</ds:datastoreItem>
</file>

<file path=customXml/itemProps868.xml><?xml version="1.0" encoding="utf-8"?>
<ds:datastoreItem xmlns:ds="http://schemas.openxmlformats.org/officeDocument/2006/customXml" ds:itemID="{86BDE3CF-4CE8-48EC-B8DB-4ECF5261FAE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69.xml><?xml version="1.0" encoding="utf-8"?>
<ds:datastoreItem xmlns:ds="http://schemas.openxmlformats.org/officeDocument/2006/customXml" ds:itemID="{C7B1F478-93C8-4D79-A980-A2ABE5BD23E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7.xml><?xml version="1.0" encoding="utf-8"?>
<ds:datastoreItem xmlns:ds="http://schemas.openxmlformats.org/officeDocument/2006/customXml" ds:itemID="{4B71407D-A8BE-4ECE-92BB-D60E1C56438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70.xml><?xml version="1.0" encoding="utf-8"?>
<ds:datastoreItem xmlns:ds="http://schemas.openxmlformats.org/officeDocument/2006/customXml" ds:itemID="{81148074-035C-4126-BC39-27C23EF8452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71.xml><?xml version="1.0" encoding="utf-8"?>
<ds:datastoreItem xmlns:ds="http://schemas.openxmlformats.org/officeDocument/2006/customXml" ds:itemID="{5430E5E1-7A71-46E1-A27A-B1BFA084748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72.xml><?xml version="1.0" encoding="utf-8"?>
<ds:datastoreItem xmlns:ds="http://schemas.openxmlformats.org/officeDocument/2006/customXml" ds:itemID="{E7ACDD27-8EBF-4E0F-B6AC-442CB207082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73.xml><?xml version="1.0" encoding="utf-8"?>
<ds:datastoreItem xmlns:ds="http://schemas.openxmlformats.org/officeDocument/2006/customXml" ds:itemID="{160FBBF1-DA43-4AD3-9285-040CDBA1819B}">
  <ds:schemaRefs>
    <ds:schemaRef ds:uri="http://schemas.microsoft.com/sharepoint/v3/contenttype/forms"/>
  </ds:schemaRefs>
</ds:datastoreItem>
</file>

<file path=customXml/itemProps874.xml><?xml version="1.0" encoding="utf-8"?>
<ds:datastoreItem xmlns:ds="http://schemas.openxmlformats.org/officeDocument/2006/customXml" ds:itemID="{326C996B-DFA8-4A53-9933-EC11522222B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75.xml><?xml version="1.0" encoding="utf-8"?>
<ds:datastoreItem xmlns:ds="http://schemas.openxmlformats.org/officeDocument/2006/customXml" ds:itemID="{2279D5A4-0502-4CA4-9B62-43702A5641C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76.xml><?xml version="1.0" encoding="utf-8"?>
<ds:datastoreItem xmlns:ds="http://schemas.openxmlformats.org/officeDocument/2006/customXml" ds:itemID="{396F1E98-7D9D-49D0-803F-D618A109AF1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77.xml><?xml version="1.0" encoding="utf-8"?>
<ds:datastoreItem xmlns:ds="http://schemas.openxmlformats.org/officeDocument/2006/customXml" ds:itemID="{AAE68F5C-A038-4544-8C85-6A436F3B1D5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78.xml><?xml version="1.0" encoding="utf-8"?>
<ds:datastoreItem xmlns:ds="http://schemas.openxmlformats.org/officeDocument/2006/customXml" ds:itemID="{FECDFA4F-DF38-4FAC-B0E1-AEA9CCE87208}">
  <ds:schemaRefs>
    <ds:schemaRef ds:uri="http://schemas.microsoft.com/sharepoint/v3/contenttype/forms"/>
  </ds:schemaRefs>
</ds:datastoreItem>
</file>

<file path=customXml/itemProps879.xml><?xml version="1.0" encoding="utf-8"?>
<ds:datastoreItem xmlns:ds="http://schemas.openxmlformats.org/officeDocument/2006/customXml" ds:itemID="{7D93B778-AA6E-4E11-9E16-DAC4279EA2A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8.xml><?xml version="1.0" encoding="utf-8"?>
<ds:datastoreItem xmlns:ds="http://schemas.openxmlformats.org/officeDocument/2006/customXml" ds:itemID="{EE00B32E-EDA3-41FA-A167-DCD2F1D225F5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80.xml><?xml version="1.0" encoding="utf-8"?>
<ds:datastoreItem xmlns:ds="http://schemas.openxmlformats.org/officeDocument/2006/customXml" ds:itemID="{8FDE056C-03E0-43E3-B615-97A370218E2B}">
  <ds:schemaRefs>
    <ds:schemaRef ds:uri="http://schemas.microsoft.com/sharepoint/v3/contenttype/forms"/>
  </ds:schemaRefs>
</ds:datastoreItem>
</file>

<file path=customXml/itemProps881.xml><?xml version="1.0" encoding="utf-8"?>
<ds:datastoreItem xmlns:ds="http://schemas.openxmlformats.org/officeDocument/2006/customXml" ds:itemID="{05F61FBB-0F7A-4D62-B495-22E0B652FE0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82.xml><?xml version="1.0" encoding="utf-8"?>
<ds:datastoreItem xmlns:ds="http://schemas.openxmlformats.org/officeDocument/2006/customXml" ds:itemID="{5518B3AB-5522-44D7-B5EC-1D5AB34A9E5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83.xml><?xml version="1.0" encoding="utf-8"?>
<ds:datastoreItem xmlns:ds="http://schemas.openxmlformats.org/officeDocument/2006/customXml" ds:itemID="{25FCF317-DB6A-4C21-95AE-DA222B259C8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84.xml><?xml version="1.0" encoding="utf-8"?>
<ds:datastoreItem xmlns:ds="http://schemas.openxmlformats.org/officeDocument/2006/customXml" ds:itemID="{D686C80B-BDA2-4C41-8683-AC77E41BC9B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85.xml><?xml version="1.0" encoding="utf-8"?>
<ds:datastoreItem xmlns:ds="http://schemas.openxmlformats.org/officeDocument/2006/customXml" ds:itemID="{2F8821B0-CE27-47C0-8415-76C0CBA24A6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86.xml><?xml version="1.0" encoding="utf-8"?>
<ds:datastoreItem xmlns:ds="http://schemas.openxmlformats.org/officeDocument/2006/customXml" ds:itemID="{5438E82A-0C39-445D-BAAA-C46AC26797BD}">
  <ds:schemaRefs>
    <ds:schemaRef ds:uri="http://schemas.microsoft.com/sharepoint/v3/contenttype/forms"/>
  </ds:schemaRefs>
</ds:datastoreItem>
</file>

<file path=customXml/itemProps887.xml><?xml version="1.0" encoding="utf-8"?>
<ds:datastoreItem xmlns:ds="http://schemas.openxmlformats.org/officeDocument/2006/customXml" ds:itemID="{E97C2AD8-4546-41C5-A6ED-EDAC03EEA1A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88.xml><?xml version="1.0" encoding="utf-8"?>
<ds:datastoreItem xmlns:ds="http://schemas.openxmlformats.org/officeDocument/2006/customXml" ds:itemID="{8F05BB66-E0A3-4D05-86E0-A58F0AD75CBB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89.xml><?xml version="1.0" encoding="utf-8"?>
<ds:datastoreItem xmlns:ds="http://schemas.openxmlformats.org/officeDocument/2006/customXml" ds:itemID="{5075D145-AE52-41AA-95BC-F115E950368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9.xml><?xml version="1.0" encoding="utf-8"?>
<ds:datastoreItem xmlns:ds="http://schemas.openxmlformats.org/officeDocument/2006/customXml" ds:itemID="{6235A449-92DA-404D-AECC-718C77B7CF0E}">
  <ds:schemaRefs>
    <ds:schemaRef ds:uri="http://schemas.microsoft.com/sharepoint/v3/contenttype/forms"/>
  </ds:schemaRefs>
</ds:datastoreItem>
</file>

<file path=customXml/itemProps890.xml><?xml version="1.0" encoding="utf-8"?>
<ds:datastoreItem xmlns:ds="http://schemas.openxmlformats.org/officeDocument/2006/customXml" ds:itemID="{8033FFE7-6247-484D-9F2F-DB3095D8973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91.xml><?xml version="1.0" encoding="utf-8"?>
<ds:datastoreItem xmlns:ds="http://schemas.openxmlformats.org/officeDocument/2006/customXml" ds:itemID="{866D94D3-3459-45AC-B5C8-AE5524697E6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92.xml><?xml version="1.0" encoding="utf-8"?>
<ds:datastoreItem xmlns:ds="http://schemas.openxmlformats.org/officeDocument/2006/customXml" ds:itemID="{76456A1D-898C-42B2-A9EE-ADBD9918312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93.xml><?xml version="1.0" encoding="utf-8"?>
<ds:datastoreItem xmlns:ds="http://schemas.openxmlformats.org/officeDocument/2006/customXml" ds:itemID="{0A2D072E-8677-4272-99A4-E49594DB71E6}">
  <ds:schemaRefs>
    <ds:schemaRef ds:uri="http://schemas.microsoft.com/sharepoint/v3/contenttype/forms"/>
  </ds:schemaRefs>
</ds:datastoreItem>
</file>

<file path=customXml/itemProps894.xml><?xml version="1.0" encoding="utf-8"?>
<ds:datastoreItem xmlns:ds="http://schemas.openxmlformats.org/officeDocument/2006/customXml" ds:itemID="{8E757A87-71E2-4BE1-9681-2D7BC57B7BB9}">
  <ds:schemaRefs>
    <ds:schemaRef ds:uri="http://schemas.microsoft.com/sharepoint/v3/contenttype/forms"/>
  </ds:schemaRefs>
</ds:datastoreItem>
</file>

<file path=customXml/itemProps895.xml><?xml version="1.0" encoding="utf-8"?>
<ds:datastoreItem xmlns:ds="http://schemas.openxmlformats.org/officeDocument/2006/customXml" ds:itemID="{3FF8BC6A-460E-4115-AA46-1583479BA27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96.xml><?xml version="1.0" encoding="utf-8"?>
<ds:datastoreItem xmlns:ds="http://schemas.openxmlformats.org/officeDocument/2006/customXml" ds:itemID="{9FBDD598-13DA-4A17-A7AB-041C297B940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97.xml><?xml version="1.0" encoding="utf-8"?>
<ds:datastoreItem xmlns:ds="http://schemas.openxmlformats.org/officeDocument/2006/customXml" ds:itemID="{BFDAAEBC-913D-4E96-A975-39F5C0E1D4E5}">
  <ds:schemaRefs>
    <ds:schemaRef ds:uri="http://schemas.microsoft.com/sharepoint/v3/contenttype/forms"/>
  </ds:schemaRefs>
</ds:datastoreItem>
</file>

<file path=customXml/itemProps898.xml><?xml version="1.0" encoding="utf-8"?>
<ds:datastoreItem xmlns:ds="http://schemas.openxmlformats.org/officeDocument/2006/customXml" ds:itemID="{AA7C588A-ED63-485B-9F3C-8E06EE51DD4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99.xml><?xml version="1.0" encoding="utf-8"?>
<ds:datastoreItem xmlns:ds="http://schemas.openxmlformats.org/officeDocument/2006/customXml" ds:itemID="{7D516D36-210B-40E0-9C89-0D628D0A789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.xml><?xml version="1.0" encoding="utf-8"?>
<ds:datastoreItem xmlns:ds="http://schemas.openxmlformats.org/officeDocument/2006/customXml" ds:itemID="{7CCD315C-2762-485B-AC2E-2B531B14992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0.xml><?xml version="1.0" encoding="utf-8"?>
<ds:datastoreItem xmlns:ds="http://schemas.openxmlformats.org/officeDocument/2006/customXml" ds:itemID="{5F71ECCF-3025-49EB-9BCC-8025BEA109F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00.xml><?xml version="1.0" encoding="utf-8"?>
<ds:datastoreItem xmlns:ds="http://schemas.openxmlformats.org/officeDocument/2006/customXml" ds:itemID="{958B7873-5A4B-4E10-88D4-B36FD589AD89}">
  <ds:schemaRefs>
    <ds:schemaRef ds:uri="http://schemas.microsoft.com/sharepoint/v3/contenttype/forms"/>
  </ds:schemaRefs>
</ds:datastoreItem>
</file>

<file path=customXml/itemProps901.xml><?xml version="1.0" encoding="utf-8"?>
<ds:datastoreItem xmlns:ds="http://schemas.openxmlformats.org/officeDocument/2006/customXml" ds:itemID="{FE0D241A-E1A0-4E7E-800C-A0671650C45B}">
  <ds:schemaRefs>
    <ds:schemaRef ds:uri="http://schemas.microsoft.com/sharepoint/v3/contenttype/forms"/>
  </ds:schemaRefs>
</ds:datastoreItem>
</file>

<file path=customXml/itemProps902.xml><?xml version="1.0" encoding="utf-8"?>
<ds:datastoreItem xmlns:ds="http://schemas.openxmlformats.org/officeDocument/2006/customXml" ds:itemID="{11BBD298-E04C-4754-A3BA-0EFC3D3448B5}">
  <ds:schemaRefs>
    <ds:schemaRef ds:uri="http://schemas.microsoft.com/sharepoint/v3/contenttype/forms"/>
  </ds:schemaRefs>
</ds:datastoreItem>
</file>

<file path=customXml/itemProps903.xml><?xml version="1.0" encoding="utf-8"?>
<ds:datastoreItem xmlns:ds="http://schemas.openxmlformats.org/officeDocument/2006/customXml" ds:itemID="{501694AA-E7E4-4736-833C-29AAF90A1CC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04.xml><?xml version="1.0" encoding="utf-8"?>
<ds:datastoreItem xmlns:ds="http://schemas.openxmlformats.org/officeDocument/2006/customXml" ds:itemID="{898BE9FF-2CDE-4BF1-8D47-B797ADA3A00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05.xml><?xml version="1.0" encoding="utf-8"?>
<ds:datastoreItem xmlns:ds="http://schemas.openxmlformats.org/officeDocument/2006/customXml" ds:itemID="{7A9C0008-2845-4EDA-8102-D95478B30007}">
  <ds:schemaRefs>
    <ds:schemaRef ds:uri="http://schemas.microsoft.com/sharepoint/v3/contenttype/forms"/>
  </ds:schemaRefs>
</ds:datastoreItem>
</file>

<file path=customXml/itemProps906.xml><?xml version="1.0" encoding="utf-8"?>
<ds:datastoreItem xmlns:ds="http://schemas.openxmlformats.org/officeDocument/2006/customXml" ds:itemID="{164BB164-1CC6-4556-B6C6-7E9EFD2E64D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07.xml><?xml version="1.0" encoding="utf-8"?>
<ds:datastoreItem xmlns:ds="http://schemas.openxmlformats.org/officeDocument/2006/customXml" ds:itemID="{70FCEEFE-32DE-4F1F-9666-35D58661AB1D}">
  <ds:schemaRefs>
    <ds:schemaRef ds:uri="http://schemas.microsoft.com/sharepoint/v3/contenttype/forms"/>
  </ds:schemaRefs>
</ds:datastoreItem>
</file>

<file path=customXml/itemProps908.xml><?xml version="1.0" encoding="utf-8"?>
<ds:datastoreItem xmlns:ds="http://schemas.openxmlformats.org/officeDocument/2006/customXml" ds:itemID="{684BBEBD-8008-4681-AB9D-08A1664F1B65}">
  <ds:schemaRefs>
    <ds:schemaRef ds:uri="http://schemas.microsoft.com/sharepoint/v3/contenttype/forms"/>
  </ds:schemaRefs>
</ds:datastoreItem>
</file>

<file path=customXml/itemProps909.xml><?xml version="1.0" encoding="utf-8"?>
<ds:datastoreItem xmlns:ds="http://schemas.openxmlformats.org/officeDocument/2006/customXml" ds:itemID="{59D56C5B-D483-4F26-9C98-60C26EA2355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1.xml><?xml version="1.0" encoding="utf-8"?>
<ds:datastoreItem xmlns:ds="http://schemas.openxmlformats.org/officeDocument/2006/customXml" ds:itemID="{4E869A73-1CF4-41AB-B316-02AF8A8734B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10.xml><?xml version="1.0" encoding="utf-8"?>
<ds:datastoreItem xmlns:ds="http://schemas.openxmlformats.org/officeDocument/2006/customXml" ds:itemID="{D6DBA68A-4495-4EEB-AAA5-E74A8E17A78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11.xml><?xml version="1.0" encoding="utf-8"?>
<ds:datastoreItem xmlns:ds="http://schemas.openxmlformats.org/officeDocument/2006/customXml" ds:itemID="{A4730805-38E0-4E49-9AA9-1CC12C353DF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12.xml><?xml version="1.0" encoding="utf-8"?>
<ds:datastoreItem xmlns:ds="http://schemas.openxmlformats.org/officeDocument/2006/customXml" ds:itemID="{17563470-0FDB-45CD-BE82-9F7284CBF25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13.xml><?xml version="1.0" encoding="utf-8"?>
<ds:datastoreItem xmlns:ds="http://schemas.openxmlformats.org/officeDocument/2006/customXml" ds:itemID="{1886E191-A08B-42E3-A436-0D0C1ED5C65B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14.xml><?xml version="1.0" encoding="utf-8"?>
<ds:datastoreItem xmlns:ds="http://schemas.openxmlformats.org/officeDocument/2006/customXml" ds:itemID="{16262BE9-9035-49B4-A37A-1D2AF65E4FDC}">
  <ds:schemaRefs>
    <ds:schemaRef ds:uri="http://schemas.microsoft.com/sharepoint/v3/contenttype/forms"/>
  </ds:schemaRefs>
</ds:datastoreItem>
</file>

<file path=customXml/itemProps915.xml><?xml version="1.0" encoding="utf-8"?>
<ds:datastoreItem xmlns:ds="http://schemas.openxmlformats.org/officeDocument/2006/customXml" ds:itemID="{7EF54758-C981-4324-B2C5-D175660702E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16.xml><?xml version="1.0" encoding="utf-8"?>
<ds:datastoreItem xmlns:ds="http://schemas.openxmlformats.org/officeDocument/2006/customXml" ds:itemID="{FA07C77A-4113-40CC-AB00-DE76F4F0CF4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17.xml><?xml version="1.0" encoding="utf-8"?>
<ds:datastoreItem xmlns:ds="http://schemas.openxmlformats.org/officeDocument/2006/customXml" ds:itemID="{CA603D6E-DC3A-483F-8317-EDFC089E551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18.xml><?xml version="1.0" encoding="utf-8"?>
<ds:datastoreItem xmlns:ds="http://schemas.openxmlformats.org/officeDocument/2006/customXml" ds:itemID="{665D4899-C162-48DE-B9F4-35E80E25E13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19.xml><?xml version="1.0" encoding="utf-8"?>
<ds:datastoreItem xmlns:ds="http://schemas.openxmlformats.org/officeDocument/2006/customXml" ds:itemID="{C3F7EDB2-EE92-4D62-AB39-DF5F1A697148}">
  <ds:schemaRefs>
    <ds:schemaRef ds:uri="http://schemas.microsoft.com/sharepoint/v3/contenttype/forms"/>
  </ds:schemaRefs>
</ds:datastoreItem>
</file>

<file path=customXml/itemProps92.xml><?xml version="1.0" encoding="utf-8"?>
<ds:datastoreItem xmlns:ds="http://schemas.openxmlformats.org/officeDocument/2006/customXml" ds:itemID="{4C4220C9-0CB2-4FA3-8095-8D0079F3562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20.xml><?xml version="1.0" encoding="utf-8"?>
<ds:datastoreItem xmlns:ds="http://schemas.openxmlformats.org/officeDocument/2006/customXml" ds:itemID="{8AAC0260-68C9-4C1E-AE3B-DC02E88387FE}">
  <ds:schemaRefs>
    <ds:schemaRef ds:uri="http://schemas.microsoft.com/sharepoint/v3/contenttype/forms"/>
  </ds:schemaRefs>
</ds:datastoreItem>
</file>

<file path=customXml/itemProps921.xml><?xml version="1.0" encoding="utf-8"?>
<ds:datastoreItem xmlns:ds="http://schemas.openxmlformats.org/officeDocument/2006/customXml" ds:itemID="{ECEF8182-AFA4-48CE-8C13-8FC5821BD810}">
  <ds:schemaRefs>
    <ds:schemaRef ds:uri="http://schemas.microsoft.com/sharepoint/v3/contenttype/forms"/>
  </ds:schemaRefs>
</ds:datastoreItem>
</file>

<file path=customXml/itemProps922.xml><?xml version="1.0" encoding="utf-8"?>
<ds:datastoreItem xmlns:ds="http://schemas.openxmlformats.org/officeDocument/2006/customXml" ds:itemID="{C9959185-D439-46FA-BA0D-EE31CCBA10A9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23.xml><?xml version="1.0" encoding="utf-8"?>
<ds:datastoreItem xmlns:ds="http://schemas.openxmlformats.org/officeDocument/2006/customXml" ds:itemID="{52122D81-7836-46CE-80D3-F0E0E4E531C1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24.xml><?xml version="1.0" encoding="utf-8"?>
<ds:datastoreItem xmlns:ds="http://schemas.openxmlformats.org/officeDocument/2006/customXml" ds:itemID="{A6362F96-99AA-464A-AA0A-5EFFA56917CE}">
  <ds:schemaRefs>
    <ds:schemaRef ds:uri="http://schemas.microsoft.com/sharepoint/v3/contenttype/forms"/>
  </ds:schemaRefs>
</ds:datastoreItem>
</file>

<file path=customXml/itemProps925.xml><?xml version="1.0" encoding="utf-8"?>
<ds:datastoreItem xmlns:ds="http://schemas.openxmlformats.org/officeDocument/2006/customXml" ds:itemID="{60F51371-72B9-45A1-91B2-FBCAF61DA6B8}">
  <ds:schemaRefs>
    <ds:schemaRef ds:uri="http://schemas.microsoft.com/sharepoint/v3/contenttype/forms"/>
  </ds:schemaRefs>
</ds:datastoreItem>
</file>

<file path=customXml/itemProps926.xml><?xml version="1.0" encoding="utf-8"?>
<ds:datastoreItem xmlns:ds="http://schemas.openxmlformats.org/officeDocument/2006/customXml" ds:itemID="{495D0C83-4116-44D1-A405-47C47BDAF7B6}">
  <ds:schemaRefs>
    <ds:schemaRef ds:uri="http://schemas.microsoft.com/sharepoint/v3/contenttype/forms"/>
  </ds:schemaRefs>
</ds:datastoreItem>
</file>

<file path=customXml/itemProps927.xml><?xml version="1.0" encoding="utf-8"?>
<ds:datastoreItem xmlns:ds="http://schemas.openxmlformats.org/officeDocument/2006/customXml" ds:itemID="{3D79ACC2-5072-424F-8528-33C3230B69FD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28.xml><?xml version="1.0" encoding="utf-8"?>
<ds:datastoreItem xmlns:ds="http://schemas.openxmlformats.org/officeDocument/2006/customXml" ds:itemID="{3AD24D70-C338-40DF-B5C4-CCF2D9607D3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29.xml><?xml version="1.0" encoding="utf-8"?>
<ds:datastoreItem xmlns:ds="http://schemas.openxmlformats.org/officeDocument/2006/customXml" ds:itemID="{381C2C82-9AEF-4BA3-A622-BC8E3DF7855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3.xml><?xml version="1.0" encoding="utf-8"?>
<ds:datastoreItem xmlns:ds="http://schemas.openxmlformats.org/officeDocument/2006/customXml" ds:itemID="{C90AB04F-3902-4676-A4DB-08042EF8965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30.xml><?xml version="1.0" encoding="utf-8"?>
<ds:datastoreItem xmlns:ds="http://schemas.openxmlformats.org/officeDocument/2006/customXml" ds:itemID="{6C724434-4538-4F0A-BC39-2F674479DBDC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31.xml><?xml version="1.0" encoding="utf-8"?>
<ds:datastoreItem xmlns:ds="http://schemas.openxmlformats.org/officeDocument/2006/customXml" ds:itemID="{014EE839-FCDA-476E-AB87-294D8317A2CA}">
  <ds:schemaRefs>
    <ds:schemaRef ds:uri="http://schemas.microsoft.com/sharepoint/v3/contenttype/forms"/>
  </ds:schemaRefs>
</ds:datastoreItem>
</file>

<file path=customXml/itemProps932.xml><?xml version="1.0" encoding="utf-8"?>
<ds:datastoreItem xmlns:ds="http://schemas.openxmlformats.org/officeDocument/2006/customXml" ds:itemID="{6632E3E3-760D-4C6C-85A4-BA7C40A43AF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33.xml><?xml version="1.0" encoding="utf-8"?>
<ds:datastoreItem xmlns:ds="http://schemas.openxmlformats.org/officeDocument/2006/customXml" ds:itemID="{EDC421BE-8E7C-4C28-8621-31EFC69E6780}">
  <ds:schemaRefs>
    <ds:schemaRef ds:uri="http://schemas.microsoft.com/sharepoint/v3/contenttype/forms"/>
  </ds:schemaRefs>
</ds:datastoreItem>
</file>

<file path=customXml/itemProps934.xml><?xml version="1.0" encoding="utf-8"?>
<ds:datastoreItem xmlns:ds="http://schemas.openxmlformats.org/officeDocument/2006/customXml" ds:itemID="{4BB098DD-CE47-4887-8E24-CE8F3AE83366}">
  <ds:schemaRefs>
    <ds:schemaRef ds:uri="http://schemas.microsoft.com/sharepoint/v3/contenttype/forms"/>
  </ds:schemaRefs>
</ds:datastoreItem>
</file>

<file path=customXml/itemProps935.xml><?xml version="1.0" encoding="utf-8"?>
<ds:datastoreItem xmlns:ds="http://schemas.openxmlformats.org/officeDocument/2006/customXml" ds:itemID="{DB69B32D-534E-4EFB-8865-A97348239C6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36.xml><?xml version="1.0" encoding="utf-8"?>
<ds:datastoreItem xmlns:ds="http://schemas.openxmlformats.org/officeDocument/2006/customXml" ds:itemID="{5A9B1B61-82D8-4374-A640-8A7E46FFC71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37.xml><?xml version="1.0" encoding="utf-8"?>
<ds:datastoreItem xmlns:ds="http://schemas.openxmlformats.org/officeDocument/2006/customXml" ds:itemID="{F77040EB-155D-40C6-9351-BE082CE4DE8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38.xml><?xml version="1.0" encoding="utf-8"?>
<ds:datastoreItem xmlns:ds="http://schemas.openxmlformats.org/officeDocument/2006/customXml" ds:itemID="{137638C6-094E-4B8A-92D1-A8EAFE139ED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39.xml><?xml version="1.0" encoding="utf-8"?>
<ds:datastoreItem xmlns:ds="http://schemas.openxmlformats.org/officeDocument/2006/customXml" ds:itemID="{D9E6C2DB-9CF0-4B7D-8CA0-95952DBBF855}">
  <ds:schemaRefs>
    <ds:schemaRef ds:uri="http://schemas.microsoft.com/sharepoint/v3/contenttype/forms"/>
  </ds:schemaRefs>
</ds:datastoreItem>
</file>

<file path=customXml/itemProps94.xml><?xml version="1.0" encoding="utf-8"?>
<ds:datastoreItem xmlns:ds="http://schemas.openxmlformats.org/officeDocument/2006/customXml" ds:itemID="{E28214F2-E572-49F9-8081-F7356FC7928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40.xml><?xml version="1.0" encoding="utf-8"?>
<ds:datastoreItem xmlns:ds="http://schemas.openxmlformats.org/officeDocument/2006/customXml" ds:itemID="{E0500001-53F7-4C65-9297-A2F8D2E8A764}">
  <ds:schemaRefs>
    <ds:schemaRef ds:uri="http://schemas.microsoft.com/sharepoint/v3/contenttype/forms"/>
  </ds:schemaRefs>
</ds:datastoreItem>
</file>

<file path=customXml/itemProps941.xml><?xml version="1.0" encoding="utf-8"?>
<ds:datastoreItem xmlns:ds="http://schemas.openxmlformats.org/officeDocument/2006/customXml" ds:itemID="{F2CCBDB7-02A5-41AF-A5D6-459EFE19E5A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42.xml><?xml version="1.0" encoding="utf-8"?>
<ds:datastoreItem xmlns:ds="http://schemas.openxmlformats.org/officeDocument/2006/customXml" ds:itemID="{75454124-127A-4E1A-9A3D-9F36D7ED817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43.xml><?xml version="1.0" encoding="utf-8"?>
<ds:datastoreItem xmlns:ds="http://schemas.openxmlformats.org/officeDocument/2006/customXml" ds:itemID="{5A4B9A56-F5B3-4C43-B3AE-3E7437A907F7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44.xml><?xml version="1.0" encoding="utf-8"?>
<ds:datastoreItem xmlns:ds="http://schemas.openxmlformats.org/officeDocument/2006/customXml" ds:itemID="{7ED58C6F-5288-4843-8B09-EFBD2D2B30FE}">
  <ds:schemaRefs>
    <ds:schemaRef ds:uri="http://schemas.microsoft.com/sharepoint/v3/contenttype/forms"/>
  </ds:schemaRefs>
</ds:datastoreItem>
</file>

<file path=customXml/itemProps945.xml><?xml version="1.0" encoding="utf-8"?>
<ds:datastoreItem xmlns:ds="http://schemas.openxmlformats.org/officeDocument/2006/customXml" ds:itemID="{16F529B4-1980-4D64-A61E-F6E0D4D8AF8A}">
  <ds:schemaRefs>
    <ds:schemaRef ds:uri="http://schemas.microsoft.com/sharepoint/v3/contenttype/forms"/>
  </ds:schemaRefs>
</ds:datastoreItem>
</file>

<file path=customXml/itemProps946.xml><?xml version="1.0" encoding="utf-8"?>
<ds:datastoreItem xmlns:ds="http://schemas.openxmlformats.org/officeDocument/2006/customXml" ds:itemID="{89A9A046-8A45-4DB8-A251-71870A3A22F6}">
  <ds:schemaRefs>
    <ds:schemaRef ds:uri="http://schemas.microsoft.com/sharepoint/v3/contenttype/forms"/>
  </ds:schemaRefs>
</ds:datastoreItem>
</file>

<file path=customXml/itemProps947.xml><?xml version="1.0" encoding="utf-8"?>
<ds:datastoreItem xmlns:ds="http://schemas.openxmlformats.org/officeDocument/2006/customXml" ds:itemID="{E5644924-43CC-4C6B-8577-54EEF48D3F88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48.xml><?xml version="1.0" encoding="utf-8"?>
<ds:datastoreItem xmlns:ds="http://schemas.openxmlformats.org/officeDocument/2006/customXml" ds:itemID="{28214861-BA69-4E90-869B-C93246171CCF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49.xml><?xml version="1.0" encoding="utf-8"?>
<ds:datastoreItem xmlns:ds="http://schemas.openxmlformats.org/officeDocument/2006/customXml" ds:itemID="{955033F0-4C4F-4314-9B22-0DE0B1BE0CE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5.xml><?xml version="1.0" encoding="utf-8"?>
<ds:datastoreItem xmlns:ds="http://schemas.openxmlformats.org/officeDocument/2006/customXml" ds:itemID="{C896FC63-5173-4194-89F8-ACD9458855B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50.xml><?xml version="1.0" encoding="utf-8"?>
<ds:datastoreItem xmlns:ds="http://schemas.openxmlformats.org/officeDocument/2006/customXml" ds:itemID="{31BB6D88-63DA-4D57-85A1-9FA33503C2D3}">
  <ds:schemaRefs>
    <ds:schemaRef ds:uri="http://schemas.microsoft.com/sharepoint/v3/contenttype/forms"/>
  </ds:schemaRefs>
</ds:datastoreItem>
</file>

<file path=customXml/itemProps951.xml><?xml version="1.0" encoding="utf-8"?>
<ds:datastoreItem xmlns:ds="http://schemas.openxmlformats.org/officeDocument/2006/customXml" ds:itemID="{D19A9C0E-1EE2-4DC6-B19C-6C613059BA38}">
  <ds:schemaRefs>
    <ds:schemaRef ds:uri="http://schemas.microsoft.com/sharepoint/v3/contenttype/forms"/>
  </ds:schemaRefs>
</ds:datastoreItem>
</file>

<file path=customXml/itemProps952.xml><?xml version="1.0" encoding="utf-8"?>
<ds:datastoreItem xmlns:ds="http://schemas.openxmlformats.org/officeDocument/2006/customXml" ds:itemID="{1672615A-1720-405A-8978-D5C5F6B10556}">
  <ds:schemaRefs>
    <ds:schemaRef ds:uri="http://schemas.microsoft.com/sharepoint/v3/contenttype/forms"/>
  </ds:schemaRefs>
</ds:datastoreItem>
</file>

<file path=customXml/itemProps953.xml><?xml version="1.0" encoding="utf-8"?>
<ds:datastoreItem xmlns:ds="http://schemas.openxmlformats.org/officeDocument/2006/customXml" ds:itemID="{1A451AC1-DA2D-4382-AC18-649F3A928DD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54.xml><?xml version="1.0" encoding="utf-8"?>
<ds:datastoreItem xmlns:ds="http://schemas.openxmlformats.org/officeDocument/2006/customXml" ds:itemID="{3004A16F-849C-49F4-9A33-59BE87E800A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55.xml><?xml version="1.0" encoding="utf-8"?>
<ds:datastoreItem xmlns:ds="http://schemas.openxmlformats.org/officeDocument/2006/customXml" ds:itemID="{6D4DB1C0-13FB-4337-90BD-C3A70540E5F5}">
  <ds:schemaRefs>
    <ds:schemaRef ds:uri="http://schemas.microsoft.com/sharepoint/v3/contenttype/forms"/>
  </ds:schemaRefs>
</ds:datastoreItem>
</file>

<file path=customXml/itemProps956.xml><?xml version="1.0" encoding="utf-8"?>
<ds:datastoreItem xmlns:ds="http://schemas.openxmlformats.org/officeDocument/2006/customXml" ds:itemID="{0FBFBF9F-66BA-4FD0-BC1A-F5DC3C73424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57.xml><?xml version="1.0" encoding="utf-8"?>
<ds:datastoreItem xmlns:ds="http://schemas.openxmlformats.org/officeDocument/2006/customXml" ds:itemID="{D4BB19F0-5E95-4347-8D8E-EDF7D2CA6E7C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58.xml><?xml version="1.0" encoding="utf-8"?>
<ds:datastoreItem xmlns:ds="http://schemas.openxmlformats.org/officeDocument/2006/customXml" ds:itemID="{E4212A5D-A8DB-4A56-A0C5-24C1396492B2}">
  <ds:schemaRefs>
    <ds:schemaRef ds:uri="http://schemas.microsoft.com/sharepoint/v3/contenttype/forms"/>
  </ds:schemaRefs>
</ds:datastoreItem>
</file>

<file path=customXml/itemProps959.xml><?xml version="1.0" encoding="utf-8"?>
<ds:datastoreItem xmlns:ds="http://schemas.openxmlformats.org/officeDocument/2006/customXml" ds:itemID="{94DC425B-CEF8-49D1-A21F-A66A2BBF005A}">
  <ds:schemaRefs>
    <ds:schemaRef ds:uri="http://schemas.microsoft.com/sharepoint/v3/contenttype/forms"/>
  </ds:schemaRefs>
</ds:datastoreItem>
</file>

<file path=customXml/itemProps96.xml><?xml version="1.0" encoding="utf-8"?>
<ds:datastoreItem xmlns:ds="http://schemas.openxmlformats.org/officeDocument/2006/customXml" ds:itemID="{73C8554D-C11A-4562-85D0-E3AA3E9B6EF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60.xml><?xml version="1.0" encoding="utf-8"?>
<ds:datastoreItem xmlns:ds="http://schemas.openxmlformats.org/officeDocument/2006/customXml" ds:itemID="{3000817C-558B-4D90-9036-A2895B34570A}">
  <ds:schemaRefs>
    <ds:schemaRef ds:uri="http://schemas.microsoft.com/sharepoint/v3/contenttype/forms"/>
  </ds:schemaRefs>
</ds:datastoreItem>
</file>

<file path=customXml/itemProps961.xml><?xml version="1.0" encoding="utf-8"?>
<ds:datastoreItem xmlns:ds="http://schemas.openxmlformats.org/officeDocument/2006/customXml" ds:itemID="{BDCAB8D6-BF3F-4B2D-B9BF-F18A5F755A95}">
  <ds:schemaRefs>
    <ds:schemaRef ds:uri="http://schemas.microsoft.com/sharepoint/v3/contenttype/forms"/>
  </ds:schemaRefs>
</ds:datastoreItem>
</file>

<file path=customXml/itemProps962.xml><?xml version="1.0" encoding="utf-8"?>
<ds:datastoreItem xmlns:ds="http://schemas.openxmlformats.org/officeDocument/2006/customXml" ds:itemID="{01EAA7FE-6AC4-4697-9DFF-6E28ACD23E64}">
  <ds:schemaRefs>
    <ds:schemaRef ds:uri="http://schemas.microsoft.com/sharepoint/v3/contenttype/forms"/>
  </ds:schemaRefs>
</ds:datastoreItem>
</file>

<file path=customXml/itemProps963.xml><?xml version="1.0" encoding="utf-8"?>
<ds:datastoreItem xmlns:ds="http://schemas.openxmlformats.org/officeDocument/2006/customXml" ds:itemID="{9C826083-F071-42BE-9280-ECB973523CC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64.xml><?xml version="1.0" encoding="utf-8"?>
<ds:datastoreItem xmlns:ds="http://schemas.openxmlformats.org/officeDocument/2006/customXml" ds:itemID="{9493DC58-BE04-4B4E-B5C2-2734617AF8F8}">
  <ds:schemaRefs>
    <ds:schemaRef ds:uri="http://schemas.microsoft.com/sharepoint/v3/contenttype/forms"/>
  </ds:schemaRefs>
</ds:datastoreItem>
</file>

<file path=customXml/itemProps965.xml><?xml version="1.0" encoding="utf-8"?>
<ds:datastoreItem xmlns:ds="http://schemas.openxmlformats.org/officeDocument/2006/customXml" ds:itemID="{8E49E721-DB00-4E5C-A9C1-BF64D856FB10}">
  <ds:schemaRefs>
    <ds:schemaRef ds:uri="http://schemas.microsoft.com/sharepoint/v3/contenttype/forms"/>
  </ds:schemaRefs>
</ds:datastoreItem>
</file>

<file path=customXml/itemProps966.xml><?xml version="1.0" encoding="utf-8"?>
<ds:datastoreItem xmlns:ds="http://schemas.openxmlformats.org/officeDocument/2006/customXml" ds:itemID="{9AAFBE04-5B9E-4580-B362-EA31BC167EC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67.xml><?xml version="1.0" encoding="utf-8"?>
<ds:datastoreItem xmlns:ds="http://schemas.openxmlformats.org/officeDocument/2006/customXml" ds:itemID="{54E2674D-B153-47B8-BC61-3A020351880A}">
  <ds:schemaRefs>
    <ds:schemaRef ds:uri="http://schemas.microsoft.com/sharepoint/v3/contenttype/forms"/>
  </ds:schemaRefs>
</ds:datastoreItem>
</file>

<file path=customXml/itemProps968.xml><?xml version="1.0" encoding="utf-8"?>
<ds:datastoreItem xmlns:ds="http://schemas.openxmlformats.org/officeDocument/2006/customXml" ds:itemID="{B03FC768-4D84-4A7D-BDD5-62D23465D7EB}">
  <ds:schemaRefs>
    <ds:schemaRef ds:uri="http://schemas.microsoft.com/sharepoint/v3/contenttype/forms"/>
  </ds:schemaRefs>
</ds:datastoreItem>
</file>

<file path=customXml/itemProps969.xml><?xml version="1.0" encoding="utf-8"?>
<ds:datastoreItem xmlns:ds="http://schemas.openxmlformats.org/officeDocument/2006/customXml" ds:itemID="{559C9375-5F96-471E-A312-CF570B89183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7.xml><?xml version="1.0" encoding="utf-8"?>
<ds:datastoreItem xmlns:ds="http://schemas.openxmlformats.org/officeDocument/2006/customXml" ds:itemID="{31D85B3F-C339-498A-B18B-436503997E8A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70.xml><?xml version="1.0" encoding="utf-8"?>
<ds:datastoreItem xmlns:ds="http://schemas.openxmlformats.org/officeDocument/2006/customXml" ds:itemID="{5D4DED95-024D-4DCC-B4C1-B3B0F3AA9864}">
  <ds:schemaRefs>
    <ds:schemaRef ds:uri="http://schemas.microsoft.com/sharepoint/v3/contenttype/forms"/>
  </ds:schemaRefs>
</ds:datastoreItem>
</file>

<file path=customXml/itemProps971.xml><?xml version="1.0" encoding="utf-8"?>
<ds:datastoreItem xmlns:ds="http://schemas.openxmlformats.org/officeDocument/2006/customXml" ds:itemID="{FAD8EAC5-FEEC-4136-897D-6A5EB895890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72.xml><?xml version="1.0" encoding="utf-8"?>
<ds:datastoreItem xmlns:ds="http://schemas.openxmlformats.org/officeDocument/2006/customXml" ds:itemID="{FF22BF48-938F-4C39-8B9F-6135860C96B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73.xml><?xml version="1.0" encoding="utf-8"?>
<ds:datastoreItem xmlns:ds="http://schemas.openxmlformats.org/officeDocument/2006/customXml" ds:itemID="{2207ED2C-0370-47AB-9785-E31D62782884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74.xml><?xml version="1.0" encoding="utf-8"?>
<ds:datastoreItem xmlns:ds="http://schemas.openxmlformats.org/officeDocument/2006/customXml" ds:itemID="{A5E2B989-A431-4150-A330-34D731BC2AA3}">
  <ds:schemaRefs>
    <ds:schemaRef ds:uri="http://schemas.microsoft.com/sharepoint/v3/contenttype/forms"/>
  </ds:schemaRefs>
</ds:datastoreItem>
</file>

<file path=customXml/itemProps975.xml><?xml version="1.0" encoding="utf-8"?>
<ds:datastoreItem xmlns:ds="http://schemas.openxmlformats.org/officeDocument/2006/customXml" ds:itemID="{B1286250-2AE8-418F-A9E1-66C79000F840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76.xml><?xml version="1.0" encoding="utf-8"?>
<ds:datastoreItem xmlns:ds="http://schemas.openxmlformats.org/officeDocument/2006/customXml" ds:itemID="{154F98B7-ADE7-4890-8A6F-032FD52F6EE5}">
  <ds:schemaRefs>
    <ds:schemaRef ds:uri="http://schemas.microsoft.com/sharepoint/v3/contenttype/forms"/>
  </ds:schemaRefs>
</ds:datastoreItem>
</file>

<file path=customXml/itemProps977.xml><?xml version="1.0" encoding="utf-8"?>
<ds:datastoreItem xmlns:ds="http://schemas.openxmlformats.org/officeDocument/2006/customXml" ds:itemID="{18B87124-2154-48E5-950D-047ACC74C9FE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78.xml><?xml version="1.0" encoding="utf-8"?>
<ds:datastoreItem xmlns:ds="http://schemas.openxmlformats.org/officeDocument/2006/customXml" ds:itemID="{81B00518-4507-42DF-BB77-DCA50E95DA0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79.xml><?xml version="1.0" encoding="utf-8"?>
<ds:datastoreItem xmlns:ds="http://schemas.openxmlformats.org/officeDocument/2006/customXml" ds:itemID="{0DAAFA32-4A3A-49B5-B51A-E559DBF18D7E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8.xml><?xml version="1.0" encoding="utf-8"?>
<ds:datastoreItem xmlns:ds="http://schemas.openxmlformats.org/officeDocument/2006/customXml" ds:itemID="{777EBA55-6DEB-4967-8333-DB54BDB2A573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80.xml><?xml version="1.0" encoding="utf-8"?>
<ds:datastoreItem xmlns:ds="http://schemas.openxmlformats.org/officeDocument/2006/customXml" ds:itemID="{F597C8A7-1396-4C42-B8FE-8C4B897AA1A9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81.xml><?xml version="1.0" encoding="utf-8"?>
<ds:datastoreItem xmlns:ds="http://schemas.openxmlformats.org/officeDocument/2006/customXml" ds:itemID="{EA4DE64A-F82D-4226-A0FD-6795D7ACCF7C}">
  <ds:schemaRefs>
    <ds:schemaRef ds:uri="http://schemas.microsoft.com/sharepoint/v3/contenttype/forms"/>
  </ds:schemaRefs>
</ds:datastoreItem>
</file>

<file path=customXml/itemProps982.xml><?xml version="1.0" encoding="utf-8"?>
<ds:datastoreItem xmlns:ds="http://schemas.openxmlformats.org/officeDocument/2006/customXml" ds:itemID="{F38B9C92-693D-4B70-801B-DF0160C2B8C0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83.xml><?xml version="1.0" encoding="utf-8"?>
<ds:datastoreItem xmlns:ds="http://schemas.openxmlformats.org/officeDocument/2006/customXml" ds:itemID="{F0421AA2-FE69-4449-8F29-B3ECF1441E8E}">
  <ds:schemaRefs>
    <ds:schemaRef ds:uri="http://schemas.microsoft.com/sharepoint/v3/contenttype/forms"/>
  </ds:schemaRefs>
</ds:datastoreItem>
</file>

<file path=customXml/itemProps984.xml><?xml version="1.0" encoding="utf-8"?>
<ds:datastoreItem xmlns:ds="http://schemas.openxmlformats.org/officeDocument/2006/customXml" ds:itemID="{F16AB479-DC4A-446B-BC90-C3AFD80A4E08}">
  <ds:schemaRefs>
    <ds:schemaRef ds:uri="http://schemas.microsoft.com/sharepoint/v3/contenttype/forms"/>
  </ds:schemaRefs>
</ds:datastoreItem>
</file>

<file path=customXml/itemProps985.xml><?xml version="1.0" encoding="utf-8"?>
<ds:datastoreItem xmlns:ds="http://schemas.openxmlformats.org/officeDocument/2006/customXml" ds:itemID="{157028E0-FE5E-4697-82BA-0C09F9B8FCD4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86.xml><?xml version="1.0" encoding="utf-8"?>
<ds:datastoreItem xmlns:ds="http://schemas.openxmlformats.org/officeDocument/2006/customXml" ds:itemID="{87A4928D-D4BB-43E2-94CA-6113A7AD4818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87.xml><?xml version="1.0" encoding="utf-8"?>
<ds:datastoreItem xmlns:ds="http://schemas.openxmlformats.org/officeDocument/2006/customXml" ds:itemID="{36F46CA4-6C94-4147-A81D-60C7CEEED9A6}">
  <ds:schemaRefs>
    <ds:schemaRef ds:uri="http://schemas.microsoft.com/sharepoint/v3/contenttype/forms"/>
  </ds:schemaRefs>
</ds:datastoreItem>
</file>

<file path=customXml/itemProps988.xml><?xml version="1.0" encoding="utf-8"?>
<ds:datastoreItem xmlns:ds="http://schemas.openxmlformats.org/officeDocument/2006/customXml" ds:itemID="{145708E8-852D-49B3-9299-A85A03C8AB17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89.xml><?xml version="1.0" encoding="utf-8"?>
<ds:datastoreItem xmlns:ds="http://schemas.openxmlformats.org/officeDocument/2006/customXml" ds:itemID="{04F068F8-8611-4144-BB1C-84AC553D0893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9.xml><?xml version="1.0" encoding="utf-8"?>
<ds:datastoreItem xmlns:ds="http://schemas.openxmlformats.org/officeDocument/2006/customXml" ds:itemID="{89408FA7-3519-4911-83B9-1B3CDEC732C5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90.xml><?xml version="1.0" encoding="utf-8"?>
<ds:datastoreItem xmlns:ds="http://schemas.openxmlformats.org/officeDocument/2006/customXml" ds:itemID="{E390C355-1827-4685-BF33-DAD47F591B91}">
  <ds:schemaRefs>
    <ds:schemaRef ds:uri="http://schemas.microsoft.com/sharepoint/v3/contenttype/forms"/>
  </ds:schemaRefs>
</ds:datastoreItem>
</file>

<file path=customXml/itemProps991.xml><?xml version="1.0" encoding="utf-8"?>
<ds:datastoreItem xmlns:ds="http://schemas.openxmlformats.org/officeDocument/2006/customXml" ds:itemID="{2BB1A470-A1E2-4693-85B6-29BF593E005F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92.xml><?xml version="1.0" encoding="utf-8"?>
<ds:datastoreItem xmlns:ds="http://schemas.openxmlformats.org/officeDocument/2006/customXml" ds:itemID="{DE437EAC-1643-4DF9-B4C5-DB32748FF326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93.xml><?xml version="1.0" encoding="utf-8"?>
<ds:datastoreItem xmlns:ds="http://schemas.openxmlformats.org/officeDocument/2006/customXml" ds:itemID="{73657C41-DCF0-49DF-BEE9-AD6EBB1462CE}">
  <ds:schemaRefs>
    <ds:schemaRef ds:uri="http://schemas.microsoft.com/sharepoint/v3/contenttype/forms"/>
  </ds:schemaRefs>
</ds:datastoreItem>
</file>

<file path=customXml/itemProps994.xml><?xml version="1.0" encoding="utf-8"?>
<ds:datastoreItem xmlns:ds="http://schemas.openxmlformats.org/officeDocument/2006/customXml" ds:itemID="{4E06E74E-E5B9-4679-A822-9209594D4054}">
  <ds:schemaRefs>
    <ds:schemaRef ds:uri="http://schemas.microsoft.com/sharepoint/v3/contenttype/forms"/>
  </ds:schemaRefs>
</ds:datastoreItem>
</file>

<file path=customXml/itemProps995.xml><?xml version="1.0" encoding="utf-8"?>
<ds:datastoreItem xmlns:ds="http://schemas.openxmlformats.org/officeDocument/2006/customXml" ds:itemID="{8D8383E1-854A-4993-9872-1BFCF6F5BE1B}">
  <ds:schemaRefs>
    <ds:schemaRef ds:uri="http://schemas.microsoft.com/office/2006/metadata/properties"/>
    <ds:schemaRef ds:uri="a65d7cdc-7643-4b47-b7ee-f2c9d8fd8459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purl.org/dc/terms/"/>
    <ds:schemaRef ds:uri="http://purl.org/dc/dcmitype/"/>
    <ds:schemaRef ds:uri="a5df8268-3b34-4463-a895-3ec8cfc42bd5"/>
    <ds:schemaRef ds:uri="http://www.w3.org/XML/1998/namespace"/>
  </ds:schemaRefs>
</ds:datastoreItem>
</file>

<file path=customXml/itemProps996.xml><?xml version="1.0" encoding="utf-8"?>
<ds:datastoreItem xmlns:ds="http://schemas.openxmlformats.org/officeDocument/2006/customXml" ds:itemID="{DCE0E5E1-4F2F-49CB-BA39-D47DAEEA4422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97.xml><?xml version="1.0" encoding="utf-8"?>
<ds:datastoreItem xmlns:ds="http://schemas.openxmlformats.org/officeDocument/2006/customXml" ds:itemID="{549353A9-AA97-4043-A573-C73EDEBC71B2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98.xml><?xml version="1.0" encoding="utf-8"?>
<ds:datastoreItem xmlns:ds="http://schemas.openxmlformats.org/officeDocument/2006/customXml" ds:itemID="{991A8459-6150-441B-9D3D-E88909C5628D}">
  <ds:schemaRefs>
    <ds:schemaRef ds:uri="a5df8268-3b34-4463-a895-3ec8cfc42bd5"/>
    <ds:schemaRef ds:uri="a65d7cdc-7643-4b47-b7ee-f2c9d8fd84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999.xml><?xml version="1.0" encoding="utf-8"?>
<ds:datastoreItem xmlns:ds="http://schemas.openxmlformats.org/officeDocument/2006/customXml" ds:itemID="{BD229B8B-AC81-4F82-BB41-F29D28C196F1}">
  <ds:schemaRefs>
    <ds:schemaRef ds:uri="a5df8268-3b34-4463-a895-3ec8cfc42bd5"/>
    <ds:schemaRef ds:uri="a65d7cdc-7643-4b47-b7ee-f2c9d8fd84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13</TotalTime>
  <Words>540</Words>
  <Application>Microsoft Office PowerPoint</Application>
  <PresentationFormat>Widescreen</PresentationFormat>
  <Paragraphs>108</Paragraphs>
  <Slides>10</Slides>
  <Notes>5</Notes>
  <HiddenSlides>2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6" baseType="lpstr">
      <vt:lpstr>Arial</vt:lpstr>
      <vt:lpstr>Calibri</vt:lpstr>
      <vt:lpstr>Calibri Light</vt:lpstr>
      <vt:lpstr>Nestle Brush</vt:lpstr>
      <vt:lpstr>Nestle Text TF AR Book</vt:lpstr>
      <vt:lpstr>Nestle Text TF Book Cnd</vt:lpstr>
      <vt:lpstr>Nestle Text TF VN Book</vt:lpstr>
      <vt:lpstr>Nestle Text TF VN Book Cnd</vt:lpstr>
      <vt:lpstr>Nestle_Text Book</vt:lpstr>
      <vt:lpstr>Nestle_Text Light</vt:lpstr>
      <vt:lpstr>SEE Template</vt:lpstr>
      <vt:lpstr>Office Theme</vt:lpstr>
      <vt:lpstr>1_Nestlé 16:9</vt:lpstr>
      <vt:lpstr>Custom Design</vt:lpstr>
      <vt:lpstr>1_Custom Design</vt:lpstr>
      <vt:lpstr>think-cell Slide</vt:lpstr>
      <vt:lpstr>PowerPoint Presentation</vt:lpstr>
      <vt:lpstr>War caused the biggest migration in modern history</vt:lpstr>
      <vt:lpstr>Different crises come one after another we have to adapt as we go </vt:lpstr>
      <vt:lpstr>Consumer Confidence fully depended on Full scale war phases reaching highest ever with believe in our victory &amp; territories liberation </vt:lpstr>
      <vt:lpstr>PowerPoint Presentation</vt:lpstr>
      <vt:lpstr>Majority of big FMCG companies kept paying to employees in full ensuring additional support</vt:lpstr>
      <vt:lpstr>Local small and medium business had to respond to business activity reduction reviewing number of people and salaries</vt:lpstr>
      <vt:lpstr>PowerPoint Presentation</vt:lpstr>
      <vt:lpstr>PowerPoint Presentation</vt:lpstr>
      <vt:lpstr>War makes us better</vt:lpstr>
    </vt:vector>
  </TitlesOfParts>
  <Company>Nest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A&amp;MD Business Review for MS</dc:title>
  <dc:creator>Krekhovych,Iryna,UA-Kyiv;Roman.Ianovych@ua.nestle.com</dc:creator>
  <cp:lastModifiedBy>Zanelli,Alessandro,UA-Kyiv</cp:lastModifiedBy>
  <cp:revision>14</cp:revision>
  <cp:lastPrinted>2023-05-30T07:38:10Z</cp:lastPrinted>
  <dcterms:created xsi:type="dcterms:W3CDTF">2023-04-24T12:07:05Z</dcterms:created>
  <dcterms:modified xsi:type="dcterms:W3CDTF">2023-05-30T07:44:45Z</dcterms:modified>
  <cp:category>Confidential. For internal use only.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etDate">
    <vt:lpwstr>2023-04-24T12:07:05Z</vt:lpwstr>
  </property>
  <property fmtid="{D5CDD505-2E9C-101B-9397-08002B2CF9AE}" pid="4" name="MSIP_Label_1ada0a2f-b917-4d51-b0d0-d418a10c8b23_Method">
    <vt:lpwstr>Standard</vt:lpwstr>
  </property>
  <property fmtid="{D5CDD505-2E9C-101B-9397-08002B2CF9AE}" pid="5" name="MSIP_Label_1ada0a2f-b917-4d51-b0d0-d418a10c8b23_Name">
    <vt:lpwstr>1ada0a2f-b917-4d51-b0d0-d418a10c8b23</vt:lpwstr>
  </property>
  <property fmtid="{D5CDD505-2E9C-101B-9397-08002B2CF9AE}" pid="6" name="MSIP_Label_1ada0a2f-b917-4d51-b0d0-d418a10c8b23_SiteId">
    <vt:lpwstr>12a3af23-a769-4654-847f-958f3d479f4a</vt:lpwstr>
  </property>
  <property fmtid="{D5CDD505-2E9C-101B-9397-08002B2CF9AE}" pid="7" name="MSIP_Label_1ada0a2f-b917-4d51-b0d0-d418a10c8b23_ActionId">
    <vt:lpwstr>8d17b7c9-9633-4d3c-9b16-732a4bd00931</vt:lpwstr>
  </property>
  <property fmtid="{D5CDD505-2E9C-101B-9397-08002B2CF9AE}" pid="8" name="MSIP_Label_1ada0a2f-b917-4d51-b0d0-d418a10c8b23_ContentBits">
    <vt:lpwstr>0</vt:lpwstr>
  </property>
  <property fmtid="{D5CDD505-2E9C-101B-9397-08002B2CF9AE}" pid="9" name="ContentTypeId">
    <vt:lpwstr>0x0101000377D961AC330D469646CE7A82F55540</vt:lpwstr>
  </property>
  <property fmtid="{D5CDD505-2E9C-101B-9397-08002B2CF9AE}" pid="10" name="MediaServiceImageTags">
    <vt:lpwstr/>
  </property>
</Properties>
</file>